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2" r:id="rId2"/>
  </p:sldMasterIdLst>
  <p:notesMasterIdLst>
    <p:notesMasterId r:id="rId27"/>
  </p:notesMasterIdLst>
  <p:sldIdLst>
    <p:sldId id="2147483315" r:id="rId3"/>
    <p:sldId id="2147483372" r:id="rId4"/>
    <p:sldId id="2147483409" r:id="rId5"/>
    <p:sldId id="2147483441" r:id="rId6"/>
    <p:sldId id="2147483440" r:id="rId7"/>
    <p:sldId id="2147483415" r:id="rId8"/>
    <p:sldId id="2147483373" r:id="rId9"/>
    <p:sldId id="2147483439" r:id="rId10"/>
    <p:sldId id="2147483433" r:id="rId11"/>
    <p:sldId id="2147483423" r:id="rId12"/>
    <p:sldId id="2147483422" r:id="rId13"/>
    <p:sldId id="2147483420" r:id="rId14"/>
    <p:sldId id="2147483419" r:id="rId15"/>
    <p:sldId id="2147483421" r:id="rId16"/>
    <p:sldId id="2147483434" r:id="rId17"/>
    <p:sldId id="2147483432" r:id="rId18"/>
    <p:sldId id="2147483425" r:id="rId19"/>
    <p:sldId id="2147483435" r:id="rId20"/>
    <p:sldId id="2147483436" r:id="rId21"/>
    <p:sldId id="2147483437" r:id="rId22"/>
    <p:sldId id="2147483442" r:id="rId23"/>
    <p:sldId id="2147483416" r:id="rId24"/>
    <p:sldId id="2147483443" r:id="rId25"/>
    <p:sldId id="2147478332" r:id="rId26"/>
  </p:sldIdLst>
  <p:sldSz cx="12192000" cy="6858000"/>
  <p:notesSz cx="6797675" cy="9859963"/>
  <p:custDataLst>
    <p:tags r:id="rId2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1FD894EB-04BD-44F9-AF7B-D4BAD248A74A}">
          <p14:sldIdLst>
            <p14:sldId id="2147483315"/>
            <p14:sldId id="2147483372"/>
            <p14:sldId id="2147483409"/>
            <p14:sldId id="2147483441"/>
            <p14:sldId id="2147483440"/>
            <p14:sldId id="2147483415"/>
            <p14:sldId id="2147483373"/>
            <p14:sldId id="2147483439"/>
            <p14:sldId id="2147483433"/>
            <p14:sldId id="2147483423"/>
            <p14:sldId id="2147483422"/>
            <p14:sldId id="2147483420"/>
            <p14:sldId id="2147483419"/>
            <p14:sldId id="2147483421"/>
            <p14:sldId id="2147483434"/>
            <p14:sldId id="2147483432"/>
            <p14:sldId id="2147483425"/>
            <p14:sldId id="2147483435"/>
            <p14:sldId id="2147483436"/>
            <p14:sldId id="2147483437"/>
            <p14:sldId id="2147483442"/>
            <p14:sldId id="2147483416"/>
            <p14:sldId id="2147483443"/>
            <p14:sldId id="2147478332"/>
          </p14:sldIdLst>
        </p14:section>
      </p14:sectionLst>
    </p:ext>
    <p:ext uri="{EFAFB233-063F-42B5-8137-9DF3F51BA10A}">
      <p15:sldGuideLst xmlns:p15="http://schemas.microsoft.com/office/powerpoint/2012/main">
        <p15:guide id="1" orient="horz" pos="3566" userDrawn="1">
          <p15:clr>
            <a:srgbClr val="A4A3A4"/>
          </p15:clr>
        </p15:guide>
        <p15:guide id="5" pos="2933" userDrawn="1">
          <p15:clr>
            <a:srgbClr val="A4A3A4"/>
          </p15:clr>
        </p15:guide>
        <p15:guide id="7" pos="6743" userDrawn="1">
          <p15:clr>
            <a:srgbClr val="A4A3A4"/>
          </p15:clr>
        </p15:guide>
        <p15:guide id="8" orient="horz" pos="595" userDrawn="1">
          <p15:clr>
            <a:srgbClr val="A4A3A4"/>
          </p15:clr>
        </p15:guide>
        <p15:guide id="10" pos="6966" userDrawn="1">
          <p15:clr>
            <a:srgbClr val="A4A3A4"/>
          </p15:clr>
        </p15:guide>
        <p15:guide id="11" orient="horz" pos="890" userDrawn="1">
          <p15:clr>
            <a:srgbClr val="A4A3A4"/>
          </p15:clr>
        </p15:guide>
        <p15:guide id="12" orient="horz" pos="2387" userDrawn="1">
          <p15:clr>
            <a:srgbClr val="A4A3A4"/>
          </p15:clr>
        </p15:guide>
        <p15:guide id="13" orient="horz" pos="3997" userDrawn="1">
          <p15:clr>
            <a:srgbClr val="A4A3A4"/>
          </p15:clr>
        </p15:guide>
        <p15:guide id="14" orient="horz" pos="1820" userDrawn="1">
          <p15:clr>
            <a:srgbClr val="A4A3A4"/>
          </p15:clr>
        </p15:guide>
        <p15:guide id="15" orient="horz" pos="288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A4"/>
    <a:srgbClr val="005471"/>
    <a:srgbClr val="C00000"/>
    <a:srgbClr val="2AA798"/>
    <a:srgbClr val="32C8B6"/>
    <a:srgbClr val="002630"/>
    <a:srgbClr val="E8E8E8"/>
    <a:srgbClr val="009999"/>
    <a:srgbClr val="7F7F7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70542-70E1-4C27-9556-C3FD05DC72C1}" v="131" dt="2025-09-08T16:19:38.213"/>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24" autoAdjust="0"/>
    <p:restoredTop sz="96283" autoAdjust="0"/>
  </p:normalViewPr>
  <p:slideViewPr>
    <p:cSldViewPr snapToGrid="0" showGuides="1">
      <p:cViewPr>
        <p:scale>
          <a:sx n="75" d="100"/>
          <a:sy n="75" d="100"/>
        </p:scale>
        <p:origin x="2100" y="780"/>
      </p:cViewPr>
      <p:guideLst>
        <p:guide orient="horz" pos="3566"/>
        <p:guide pos="2933"/>
        <p:guide pos="6743"/>
        <p:guide orient="horz" pos="595"/>
        <p:guide pos="6966"/>
        <p:guide orient="horz" pos="890"/>
        <p:guide orient="horz" pos="2387"/>
        <p:guide orient="horz" pos="3997"/>
        <p:guide orient="horz" pos="1820"/>
        <p:guide orient="horz" pos="2886"/>
      </p:guideLst>
    </p:cSldViewPr>
  </p:slideViewPr>
  <p:notesTextViewPr>
    <p:cViewPr>
      <p:scale>
        <a:sx n="400" d="100"/>
        <a:sy n="4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narriz Herrador Iñaki" userId="11637121-8aee-420b-9db7-54651cb06796" providerId="ADAL" clId="{A5A63F93-E248-43A4-BFE0-94814416B416}"/>
    <pc:docChg chg="undo custSel addSld modSld modSection">
      <pc:chgData name="Munarriz Herrador Iñaki" userId="11637121-8aee-420b-9db7-54651cb06796" providerId="ADAL" clId="{A5A63F93-E248-43A4-BFE0-94814416B416}" dt="2024-06-28T11:30:24.575" v="264" actId="1076"/>
      <pc:docMkLst>
        <pc:docMk/>
      </pc:docMkLst>
      <pc:sldChg chg="addSp delSp modSp add mod">
        <pc:chgData name="Munarriz Herrador Iñaki" userId="11637121-8aee-420b-9db7-54651cb06796" providerId="ADAL" clId="{A5A63F93-E248-43A4-BFE0-94814416B416}" dt="2024-06-28T11:30:24.575" v="264" actId="1076"/>
        <pc:sldMkLst>
          <pc:docMk/>
          <pc:sldMk cId="3749504679" sldId="2147483318"/>
        </pc:sldMkLst>
      </pc:sldChg>
    </pc:docChg>
  </pc:docChgLst>
  <pc:docChgLst>
    <pc:chgData name="Munarriz Herrador Iñaki" userId="11637121-8aee-420b-9db7-54651cb06796" providerId="ADAL" clId="{40696C48-91B3-44FD-BACC-CB4D5CD22FD1}"/>
    <pc:docChg chg="undo custSel addSld delSld modSld modSection">
      <pc:chgData name="Munarriz Herrador Iñaki" userId="11637121-8aee-420b-9db7-54651cb06796" providerId="ADAL" clId="{40696C48-91B3-44FD-BACC-CB4D5CD22FD1}" dt="2024-06-05T14:36:47.320" v="3083" actId="14100"/>
      <pc:docMkLst>
        <pc:docMk/>
      </pc:docMkLst>
      <pc:sldChg chg="del">
        <pc:chgData name="Munarriz Herrador Iñaki" userId="11637121-8aee-420b-9db7-54651cb06796" providerId="ADAL" clId="{40696C48-91B3-44FD-BACC-CB4D5CD22FD1}" dt="2024-05-20T16:41:50.457" v="529" actId="47"/>
        <pc:sldMkLst>
          <pc:docMk/>
          <pc:sldMk cId="1754681115" sldId="435"/>
        </pc:sldMkLst>
      </pc:sldChg>
      <pc:sldChg chg="del">
        <pc:chgData name="Munarriz Herrador Iñaki" userId="11637121-8aee-420b-9db7-54651cb06796" providerId="ADAL" clId="{40696C48-91B3-44FD-BACC-CB4D5CD22FD1}" dt="2024-05-20T08:04:12.559" v="0" actId="47"/>
        <pc:sldMkLst>
          <pc:docMk/>
          <pc:sldMk cId="2097821841" sldId="459"/>
        </pc:sldMkLst>
      </pc:sldChg>
      <pc:sldChg chg="del">
        <pc:chgData name="Munarriz Herrador Iñaki" userId="11637121-8aee-420b-9db7-54651cb06796" providerId="ADAL" clId="{40696C48-91B3-44FD-BACC-CB4D5CD22FD1}" dt="2024-05-20T16:41:49.701" v="528" actId="47"/>
        <pc:sldMkLst>
          <pc:docMk/>
          <pc:sldMk cId="2722343528" sldId="480"/>
        </pc:sldMkLst>
      </pc:sldChg>
      <pc:sldChg chg="del">
        <pc:chgData name="Munarriz Herrador Iñaki" userId="11637121-8aee-420b-9db7-54651cb06796" providerId="ADAL" clId="{40696C48-91B3-44FD-BACC-CB4D5CD22FD1}" dt="2024-05-20T08:04:12.559" v="0" actId="47"/>
        <pc:sldMkLst>
          <pc:docMk/>
          <pc:sldMk cId="2933988909" sldId="490"/>
        </pc:sldMkLst>
      </pc:sldChg>
      <pc:sldChg chg="del">
        <pc:chgData name="Munarriz Herrador Iñaki" userId="11637121-8aee-420b-9db7-54651cb06796" providerId="ADAL" clId="{40696C48-91B3-44FD-BACC-CB4D5CD22FD1}" dt="2024-05-20T08:04:12.559" v="0" actId="47"/>
        <pc:sldMkLst>
          <pc:docMk/>
          <pc:sldMk cId="1586747582" sldId="495"/>
        </pc:sldMkLst>
      </pc:sldChg>
      <pc:sldChg chg="del">
        <pc:chgData name="Munarriz Herrador Iñaki" userId="11637121-8aee-420b-9db7-54651cb06796" providerId="ADAL" clId="{40696C48-91B3-44FD-BACC-CB4D5CD22FD1}" dt="2024-05-20T08:04:21.274" v="1" actId="47"/>
        <pc:sldMkLst>
          <pc:docMk/>
          <pc:sldMk cId="1434126347" sldId="497"/>
        </pc:sldMkLst>
      </pc:sldChg>
      <pc:sldChg chg="del">
        <pc:chgData name="Munarriz Herrador Iñaki" userId="11637121-8aee-420b-9db7-54651cb06796" providerId="ADAL" clId="{40696C48-91B3-44FD-BACC-CB4D5CD22FD1}" dt="2024-05-20T08:04:21.274" v="1" actId="47"/>
        <pc:sldMkLst>
          <pc:docMk/>
          <pc:sldMk cId="2529774298" sldId="498"/>
        </pc:sldMkLst>
      </pc:sldChg>
      <pc:sldChg chg="del">
        <pc:chgData name="Munarriz Herrador Iñaki" userId="11637121-8aee-420b-9db7-54651cb06796" providerId="ADAL" clId="{40696C48-91B3-44FD-BACC-CB4D5CD22FD1}" dt="2024-05-20T08:04:21.274" v="1" actId="47"/>
        <pc:sldMkLst>
          <pc:docMk/>
          <pc:sldMk cId="2048187816" sldId="500"/>
        </pc:sldMkLst>
      </pc:sldChg>
      <pc:sldChg chg="modSp add del mod">
        <pc:chgData name="Munarriz Herrador Iñaki" userId="11637121-8aee-420b-9db7-54651cb06796" providerId="ADAL" clId="{40696C48-91B3-44FD-BACC-CB4D5CD22FD1}" dt="2024-05-21T07:38:48.657" v="1110" actId="14100"/>
        <pc:sldMkLst>
          <pc:docMk/>
          <pc:sldMk cId="1616658181" sldId="806"/>
        </pc:sldMkLst>
      </pc:sldChg>
      <pc:sldChg chg="del">
        <pc:chgData name="Munarriz Herrador Iñaki" userId="11637121-8aee-420b-9db7-54651cb06796" providerId="ADAL" clId="{40696C48-91B3-44FD-BACC-CB4D5CD22FD1}" dt="2024-05-20T08:04:21.274" v="1" actId="47"/>
        <pc:sldMkLst>
          <pc:docMk/>
          <pc:sldMk cId="1656780474" sldId="807"/>
        </pc:sldMkLst>
      </pc:sldChg>
      <pc:sldChg chg="del">
        <pc:chgData name="Munarriz Herrador Iñaki" userId="11637121-8aee-420b-9db7-54651cb06796" providerId="ADAL" clId="{40696C48-91B3-44FD-BACC-CB4D5CD22FD1}" dt="2024-05-20T08:04:21.274" v="1" actId="47"/>
        <pc:sldMkLst>
          <pc:docMk/>
          <pc:sldMk cId="1900307273" sldId="808"/>
        </pc:sldMkLst>
      </pc:sldChg>
      <pc:sldChg chg="del">
        <pc:chgData name="Munarriz Herrador Iñaki" userId="11637121-8aee-420b-9db7-54651cb06796" providerId="ADAL" clId="{40696C48-91B3-44FD-BACC-CB4D5CD22FD1}" dt="2024-05-20T08:04:21.274" v="1" actId="47"/>
        <pc:sldMkLst>
          <pc:docMk/>
          <pc:sldMk cId="3015382304" sldId="809"/>
        </pc:sldMkLst>
      </pc:sldChg>
      <pc:sldChg chg="del">
        <pc:chgData name="Munarriz Herrador Iñaki" userId="11637121-8aee-420b-9db7-54651cb06796" providerId="ADAL" clId="{40696C48-91B3-44FD-BACC-CB4D5CD22FD1}" dt="2024-05-20T08:04:21.274" v="1" actId="47"/>
        <pc:sldMkLst>
          <pc:docMk/>
          <pc:sldMk cId="2263641396" sldId="810"/>
        </pc:sldMkLst>
      </pc:sldChg>
      <pc:sldChg chg="del">
        <pc:chgData name="Munarriz Herrador Iñaki" userId="11637121-8aee-420b-9db7-54651cb06796" providerId="ADAL" clId="{40696C48-91B3-44FD-BACC-CB4D5CD22FD1}" dt="2024-05-20T08:04:21.274" v="1" actId="47"/>
        <pc:sldMkLst>
          <pc:docMk/>
          <pc:sldMk cId="802874699" sldId="811"/>
        </pc:sldMkLst>
      </pc:sldChg>
      <pc:sldChg chg="del">
        <pc:chgData name="Munarriz Herrador Iñaki" userId="11637121-8aee-420b-9db7-54651cb06796" providerId="ADAL" clId="{40696C48-91B3-44FD-BACC-CB4D5CD22FD1}" dt="2024-05-20T08:04:21.274" v="1" actId="47"/>
        <pc:sldMkLst>
          <pc:docMk/>
          <pc:sldMk cId="1005477179" sldId="812"/>
        </pc:sldMkLst>
      </pc:sldChg>
      <pc:sldChg chg="del">
        <pc:chgData name="Munarriz Herrador Iñaki" userId="11637121-8aee-420b-9db7-54651cb06796" providerId="ADAL" clId="{40696C48-91B3-44FD-BACC-CB4D5CD22FD1}" dt="2024-05-20T08:04:21.274" v="1" actId="47"/>
        <pc:sldMkLst>
          <pc:docMk/>
          <pc:sldMk cId="1462443189" sldId="813"/>
        </pc:sldMkLst>
      </pc:sldChg>
      <pc:sldChg chg="del">
        <pc:chgData name="Munarriz Herrador Iñaki" userId="11637121-8aee-420b-9db7-54651cb06796" providerId="ADAL" clId="{40696C48-91B3-44FD-BACC-CB4D5CD22FD1}" dt="2024-05-20T08:04:21.274" v="1" actId="47"/>
        <pc:sldMkLst>
          <pc:docMk/>
          <pc:sldMk cId="874219090" sldId="814"/>
        </pc:sldMkLst>
      </pc:sldChg>
      <pc:sldChg chg="del">
        <pc:chgData name="Munarriz Herrador Iñaki" userId="11637121-8aee-420b-9db7-54651cb06796" providerId="ADAL" clId="{40696C48-91B3-44FD-BACC-CB4D5CD22FD1}" dt="2024-05-20T08:04:21.274" v="1" actId="47"/>
        <pc:sldMkLst>
          <pc:docMk/>
          <pc:sldMk cId="1292986524" sldId="815"/>
        </pc:sldMkLst>
      </pc:sldChg>
      <pc:sldChg chg="del">
        <pc:chgData name="Munarriz Herrador Iñaki" userId="11637121-8aee-420b-9db7-54651cb06796" providerId="ADAL" clId="{40696C48-91B3-44FD-BACC-CB4D5CD22FD1}" dt="2024-05-20T08:04:21.274" v="1" actId="47"/>
        <pc:sldMkLst>
          <pc:docMk/>
          <pc:sldMk cId="3344288659" sldId="816"/>
        </pc:sldMkLst>
      </pc:sldChg>
      <pc:sldChg chg="del">
        <pc:chgData name="Munarriz Herrador Iñaki" userId="11637121-8aee-420b-9db7-54651cb06796" providerId="ADAL" clId="{40696C48-91B3-44FD-BACC-CB4D5CD22FD1}" dt="2024-05-20T08:04:21.274" v="1" actId="47"/>
        <pc:sldMkLst>
          <pc:docMk/>
          <pc:sldMk cId="271431928" sldId="817"/>
        </pc:sldMkLst>
      </pc:sldChg>
      <pc:sldChg chg="del">
        <pc:chgData name="Munarriz Herrador Iñaki" userId="11637121-8aee-420b-9db7-54651cb06796" providerId="ADAL" clId="{40696C48-91B3-44FD-BACC-CB4D5CD22FD1}" dt="2024-05-20T08:04:21.274" v="1" actId="47"/>
        <pc:sldMkLst>
          <pc:docMk/>
          <pc:sldMk cId="1685783883" sldId="823"/>
        </pc:sldMkLst>
      </pc:sldChg>
      <pc:sldChg chg="del">
        <pc:chgData name="Munarriz Herrador Iñaki" userId="11637121-8aee-420b-9db7-54651cb06796" providerId="ADAL" clId="{40696C48-91B3-44FD-BACC-CB4D5CD22FD1}" dt="2024-05-20T08:04:21.274" v="1" actId="47"/>
        <pc:sldMkLst>
          <pc:docMk/>
          <pc:sldMk cId="1903546216" sldId="824"/>
        </pc:sldMkLst>
      </pc:sldChg>
      <pc:sldChg chg="del">
        <pc:chgData name="Munarriz Herrador Iñaki" userId="11637121-8aee-420b-9db7-54651cb06796" providerId="ADAL" clId="{40696C48-91B3-44FD-BACC-CB4D5CD22FD1}" dt="2024-05-20T08:04:12.559" v="0" actId="47"/>
        <pc:sldMkLst>
          <pc:docMk/>
          <pc:sldMk cId="648639592" sldId="825"/>
        </pc:sldMkLst>
      </pc:sldChg>
      <pc:sldChg chg="del">
        <pc:chgData name="Munarriz Herrador Iñaki" userId="11637121-8aee-420b-9db7-54651cb06796" providerId="ADAL" clId="{40696C48-91B3-44FD-BACC-CB4D5CD22FD1}" dt="2024-05-20T08:04:21.274" v="1" actId="47"/>
        <pc:sldMkLst>
          <pc:docMk/>
          <pc:sldMk cId="2715031666" sldId="826"/>
        </pc:sldMkLst>
      </pc:sldChg>
      <pc:sldChg chg="addSp delSp modSp mod">
        <pc:chgData name="Munarriz Herrador Iñaki" userId="11637121-8aee-420b-9db7-54651cb06796" providerId="ADAL" clId="{40696C48-91B3-44FD-BACC-CB4D5CD22FD1}" dt="2024-05-21T08:26:18.265" v="1733" actId="1035"/>
        <pc:sldMkLst>
          <pc:docMk/>
          <pc:sldMk cId="128532313" sldId="827"/>
        </pc:sldMkLst>
      </pc:sldChg>
      <pc:sldChg chg="addSp delSp modSp add mod">
        <pc:chgData name="Munarriz Herrador Iñaki" userId="11637121-8aee-420b-9db7-54651cb06796" providerId="ADAL" clId="{40696C48-91B3-44FD-BACC-CB4D5CD22FD1}" dt="2024-05-20T17:19:50.365" v="628" actId="478"/>
        <pc:sldMkLst>
          <pc:docMk/>
          <pc:sldMk cId="3904767837" sldId="828"/>
        </pc:sldMkLst>
      </pc:sldChg>
      <pc:sldChg chg="addSp delSp modSp add mod">
        <pc:chgData name="Munarriz Herrador Iñaki" userId="11637121-8aee-420b-9db7-54651cb06796" providerId="ADAL" clId="{40696C48-91B3-44FD-BACC-CB4D5CD22FD1}" dt="2024-05-21T08:32:10.217" v="1883" actId="20577"/>
        <pc:sldMkLst>
          <pc:docMk/>
          <pc:sldMk cId="1054402032" sldId="829"/>
        </pc:sldMkLst>
      </pc:sldChg>
      <pc:sldChg chg="delSp modSp add mod">
        <pc:chgData name="Munarriz Herrador Iñaki" userId="11637121-8aee-420b-9db7-54651cb06796" providerId="ADAL" clId="{40696C48-91B3-44FD-BACC-CB4D5CD22FD1}" dt="2024-05-20T18:08:47.991" v="1079" actId="948"/>
        <pc:sldMkLst>
          <pc:docMk/>
          <pc:sldMk cId="3474182341" sldId="830"/>
        </pc:sldMkLst>
      </pc:sldChg>
      <pc:sldChg chg="add">
        <pc:chgData name="Munarriz Herrador Iñaki" userId="11637121-8aee-420b-9db7-54651cb06796" providerId="ADAL" clId="{40696C48-91B3-44FD-BACC-CB4D5CD22FD1}" dt="2024-05-21T07:43:27.262" v="1128"/>
        <pc:sldMkLst>
          <pc:docMk/>
          <pc:sldMk cId="3682512932" sldId="2147478332"/>
        </pc:sldMkLst>
      </pc:sldChg>
      <pc:sldChg chg="modSp add mod">
        <pc:chgData name="Munarriz Herrador Iñaki" userId="11637121-8aee-420b-9db7-54651cb06796" providerId="ADAL" clId="{40696C48-91B3-44FD-BACC-CB4D5CD22FD1}" dt="2024-05-21T07:43:01.889" v="1127" actId="20577"/>
        <pc:sldMkLst>
          <pc:docMk/>
          <pc:sldMk cId="0" sldId="2147483315"/>
        </pc:sldMkLst>
      </pc:sldChg>
      <pc:sldChg chg="addSp delSp modSp add mod">
        <pc:chgData name="Munarriz Herrador Iñaki" userId="11637121-8aee-420b-9db7-54651cb06796" providerId="ADAL" clId="{40696C48-91B3-44FD-BACC-CB4D5CD22FD1}" dt="2024-06-05T14:36:47.320" v="3083" actId="14100"/>
        <pc:sldMkLst>
          <pc:docMk/>
          <pc:sldMk cId="837960401" sldId="2147483316"/>
        </pc:sldMkLst>
      </pc:sldChg>
      <pc:sldChg chg="addSp modSp add mod">
        <pc:chgData name="Munarriz Herrador Iñaki" userId="11637121-8aee-420b-9db7-54651cb06796" providerId="ADAL" clId="{40696C48-91B3-44FD-BACC-CB4D5CD22FD1}" dt="2024-06-05T11:45:50.484" v="1887" actId="1076"/>
        <pc:sldMkLst>
          <pc:docMk/>
          <pc:sldMk cId="402773593" sldId="2147483317"/>
        </pc:sldMkLst>
      </pc:sldChg>
      <pc:sldMasterChg chg="delSldLayout">
        <pc:chgData name="Munarriz Herrador Iñaki" userId="11637121-8aee-420b-9db7-54651cb06796" providerId="ADAL" clId="{40696C48-91B3-44FD-BACC-CB4D5CD22FD1}" dt="2024-05-20T08:04:21.274" v="1" actId="47"/>
        <pc:sldMasterMkLst>
          <pc:docMk/>
          <pc:sldMasterMk cId="3682351262" sldId="2147483732"/>
        </pc:sldMasterMkLst>
        <pc:sldLayoutChg chg="del">
          <pc:chgData name="Munarriz Herrador Iñaki" userId="11637121-8aee-420b-9db7-54651cb06796" providerId="ADAL" clId="{40696C48-91B3-44FD-BACC-CB4D5CD22FD1}" dt="2024-05-20T08:04:12.559" v="0" actId="47"/>
          <pc:sldLayoutMkLst>
            <pc:docMk/>
            <pc:sldMasterMk cId="3682351262" sldId="2147483732"/>
            <pc:sldLayoutMk cId="2229808591" sldId="2147483882"/>
          </pc:sldLayoutMkLst>
        </pc:sldLayoutChg>
        <pc:sldLayoutChg chg="del">
          <pc:chgData name="Munarriz Herrador Iñaki" userId="11637121-8aee-420b-9db7-54651cb06796" providerId="ADAL" clId="{40696C48-91B3-44FD-BACC-CB4D5CD22FD1}" dt="2024-05-20T08:04:21.274" v="1" actId="47"/>
          <pc:sldLayoutMkLst>
            <pc:docMk/>
            <pc:sldMasterMk cId="3682351262" sldId="2147483732"/>
            <pc:sldLayoutMk cId="3799599943" sldId="2147483883"/>
          </pc:sldLayoutMkLst>
        </pc:sldLayoutChg>
        <pc:sldLayoutChg chg="del">
          <pc:chgData name="Munarriz Herrador Iñaki" userId="11637121-8aee-420b-9db7-54651cb06796" providerId="ADAL" clId="{40696C48-91B3-44FD-BACC-CB4D5CD22FD1}" dt="2024-05-20T08:04:12.559" v="0" actId="47"/>
          <pc:sldLayoutMkLst>
            <pc:docMk/>
            <pc:sldMasterMk cId="3682351262" sldId="2147483732"/>
            <pc:sldLayoutMk cId="3704372388" sldId="2147483884"/>
          </pc:sldLayoutMkLst>
        </pc:sldLayoutChg>
      </pc:sldMasterChg>
    </pc:docChg>
  </pc:docChgLst>
  <pc:docChgLst>
    <pc:chgData name="Munarriz Herrador Iñaki" userId="11637121-8aee-420b-9db7-54651cb06796" providerId="ADAL" clId="{CAB74CB7-6DA4-4355-94E7-F63F4DFDD9E9}"/>
    <pc:docChg chg="undo redo custSel addSld delSld modSld sldOrd modSection">
      <pc:chgData name="Munarriz Herrador Iñaki" userId="11637121-8aee-420b-9db7-54651cb06796" providerId="ADAL" clId="{CAB74CB7-6DA4-4355-94E7-F63F4DFDD9E9}" dt="2025-07-03T14:10:34.715" v="1609" actId="20577"/>
      <pc:docMkLst>
        <pc:docMk/>
      </pc:docMkLst>
      <pc:sldChg chg="modSp mod">
        <pc:chgData name="Munarriz Herrador Iñaki" userId="11637121-8aee-420b-9db7-54651cb06796" providerId="ADAL" clId="{CAB74CB7-6DA4-4355-94E7-F63F4DFDD9E9}" dt="2025-07-03T14:10:34.715" v="1609" actId="20577"/>
        <pc:sldMkLst>
          <pc:docMk/>
          <pc:sldMk cId="0" sldId="2147483315"/>
        </pc:sldMkLst>
        <pc:spChg chg="mod">
          <ac:chgData name="Munarriz Herrador Iñaki" userId="11637121-8aee-420b-9db7-54651cb06796" providerId="ADAL" clId="{CAB74CB7-6DA4-4355-94E7-F63F4DFDD9E9}" dt="2025-06-26T09:56:06.521" v="3" actId="20577"/>
          <ac:spMkLst>
            <pc:docMk/>
            <pc:sldMk cId="0" sldId="2147483315"/>
            <ac:spMk id="6" creationId="{00000000-0000-0000-0000-000000000000}"/>
          </ac:spMkLst>
        </pc:spChg>
        <pc:spChg chg="mod">
          <ac:chgData name="Munarriz Herrador Iñaki" userId="11637121-8aee-420b-9db7-54651cb06796" providerId="ADAL" clId="{CAB74CB7-6DA4-4355-94E7-F63F4DFDD9E9}" dt="2025-07-03T14:10:34.715" v="1609" actId="20577"/>
          <ac:spMkLst>
            <pc:docMk/>
            <pc:sldMk cId="0" sldId="2147483315"/>
            <ac:spMk id="11" creationId="{D2ABA22D-F23D-20AB-0DA8-B06D42BD659D}"/>
          </ac:spMkLst>
        </pc:spChg>
      </pc:sldChg>
      <pc:sldChg chg="modSp mod">
        <pc:chgData name="Munarriz Herrador Iñaki" userId="11637121-8aee-420b-9db7-54651cb06796" providerId="ADAL" clId="{CAB74CB7-6DA4-4355-94E7-F63F4DFDD9E9}" dt="2025-06-30T15:43:52.306" v="1409" actId="20577"/>
        <pc:sldMkLst>
          <pc:docMk/>
          <pc:sldMk cId="88093545" sldId="2147483372"/>
        </pc:sldMkLst>
        <pc:spChg chg="mod">
          <ac:chgData name="Munarriz Herrador Iñaki" userId="11637121-8aee-420b-9db7-54651cb06796" providerId="ADAL" clId="{CAB74CB7-6DA4-4355-94E7-F63F4DFDD9E9}" dt="2025-06-30T15:43:52.306" v="1409" actId="20577"/>
          <ac:spMkLst>
            <pc:docMk/>
            <pc:sldMk cId="88093545" sldId="2147483372"/>
            <ac:spMk id="8" creationId="{B653FEEB-5B1B-5220-1426-D789485673FE}"/>
          </ac:spMkLst>
        </pc:spChg>
      </pc:sldChg>
      <pc:sldChg chg="addSp delSp modSp mod">
        <pc:chgData name="Munarriz Herrador Iñaki" userId="11637121-8aee-420b-9db7-54651cb06796" providerId="ADAL" clId="{CAB74CB7-6DA4-4355-94E7-F63F4DFDD9E9}" dt="2025-06-27T11:36:17.207" v="1364"/>
        <pc:sldMkLst>
          <pc:docMk/>
          <pc:sldMk cId="1243781170" sldId="2147483373"/>
        </pc:sldMkLst>
        <pc:spChg chg="add del mod">
          <ac:chgData name="Munarriz Herrador Iñaki" userId="11637121-8aee-420b-9db7-54651cb06796" providerId="ADAL" clId="{CAB74CB7-6DA4-4355-94E7-F63F4DFDD9E9}" dt="2025-06-27T11:36:17.207" v="1364"/>
          <ac:spMkLst>
            <pc:docMk/>
            <pc:sldMk cId="1243781170" sldId="2147483373"/>
            <ac:spMk id="6" creationId="{8BEF89A0-9B50-124A-6F46-17A2C809E6F0}"/>
          </ac:spMkLst>
        </pc:spChg>
        <pc:spChg chg="mod">
          <ac:chgData name="Munarriz Herrador Iñaki" userId="11637121-8aee-420b-9db7-54651cb06796" providerId="ADAL" clId="{CAB74CB7-6DA4-4355-94E7-F63F4DFDD9E9}" dt="2025-06-27T11:34:48.392" v="1359" actId="14100"/>
          <ac:spMkLst>
            <pc:docMk/>
            <pc:sldMk cId="1243781170" sldId="2147483373"/>
            <ac:spMk id="41" creationId="{1D17B2A6-1FC3-8256-10F3-3AFCA2296B20}"/>
          </ac:spMkLst>
        </pc:spChg>
        <pc:spChg chg="mod">
          <ac:chgData name="Munarriz Herrador Iñaki" userId="11637121-8aee-420b-9db7-54651cb06796" providerId="ADAL" clId="{CAB74CB7-6DA4-4355-94E7-F63F4DFDD9E9}" dt="2025-06-27T10:54:11.661" v="1245" actId="20577"/>
          <ac:spMkLst>
            <pc:docMk/>
            <pc:sldMk cId="1243781170" sldId="2147483373"/>
            <ac:spMk id="42" creationId="{9320906B-9399-F7D8-A216-3D8FA59FFFD9}"/>
          </ac:spMkLst>
        </pc:spChg>
        <pc:spChg chg="mod">
          <ac:chgData name="Munarriz Herrador Iñaki" userId="11637121-8aee-420b-9db7-54651cb06796" providerId="ADAL" clId="{CAB74CB7-6DA4-4355-94E7-F63F4DFDD9E9}" dt="2025-06-27T11:07:34.967" v="1315" actId="20577"/>
          <ac:spMkLst>
            <pc:docMk/>
            <pc:sldMk cId="1243781170" sldId="2147483373"/>
            <ac:spMk id="44" creationId="{9947456F-95BE-E86D-DF69-B445F45E839E}"/>
          </ac:spMkLst>
        </pc:spChg>
        <pc:spChg chg="mod">
          <ac:chgData name="Munarriz Herrador Iñaki" userId="11637121-8aee-420b-9db7-54651cb06796" providerId="ADAL" clId="{CAB74CB7-6DA4-4355-94E7-F63F4DFDD9E9}" dt="2025-06-27T10:54:21.278" v="1254" actId="20577"/>
          <ac:spMkLst>
            <pc:docMk/>
            <pc:sldMk cId="1243781170" sldId="2147483373"/>
            <ac:spMk id="46" creationId="{2911DFDA-7CBF-CE55-8527-50CF72078341}"/>
          </ac:spMkLst>
        </pc:spChg>
        <pc:grpChg chg="mod">
          <ac:chgData name="Munarriz Herrador Iñaki" userId="11637121-8aee-420b-9db7-54651cb06796" providerId="ADAL" clId="{CAB74CB7-6DA4-4355-94E7-F63F4DFDD9E9}" dt="2025-06-27T11:34:06.651" v="1351" actId="14100"/>
          <ac:grpSpMkLst>
            <pc:docMk/>
            <pc:sldMk cId="1243781170" sldId="2147483373"/>
            <ac:grpSpMk id="43" creationId="{64ED50A7-AB2A-7F01-F5AB-15829F2C15D0}"/>
          </ac:grpSpMkLst>
        </pc:grpChg>
      </pc:sldChg>
      <pc:sldChg chg="addSp delSp modSp mod">
        <pc:chgData name="Munarriz Herrador Iñaki" userId="11637121-8aee-420b-9db7-54651cb06796" providerId="ADAL" clId="{CAB74CB7-6DA4-4355-94E7-F63F4DFDD9E9}" dt="2025-06-27T10:54:47.297" v="1263" actId="20577"/>
        <pc:sldMkLst>
          <pc:docMk/>
          <pc:sldMk cId="2085739677" sldId="2147483401"/>
        </pc:sldMkLst>
      </pc:sldChg>
      <pc:sldChg chg="del">
        <pc:chgData name="Munarriz Herrador Iñaki" userId="11637121-8aee-420b-9db7-54651cb06796" providerId="ADAL" clId="{CAB74CB7-6DA4-4355-94E7-F63F4DFDD9E9}" dt="2025-06-27T08:44:12.912" v="826" actId="47"/>
        <pc:sldMkLst>
          <pc:docMk/>
          <pc:sldMk cId="2425737149" sldId="2147483402"/>
        </pc:sldMkLst>
      </pc:sldChg>
      <pc:sldChg chg="del">
        <pc:chgData name="Munarriz Herrador Iñaki" userId="11637121-8aee-420b-9db7-54651cb06796" providerId="ADAL" clId="{CAB74CB7-6DA4-4355-94E7-F63F4DFDD9E9}" dt="2025-06-27T08:44:12.912" v="826" actId="47"/>
        <pc:sldMkLst>
          <pc:docMk/>
          <pc:sldMk cId="2876304681" sldId="2147483403"/>
        </pc:sldMkLst>
      </pc:sldChg>
      <pc:sldChg chg="del">
        <pc:chgData name="Munarriz Herrador Iñaki" userId="11637121-8aee-420b-9db7-54651cb06796" providerId="ADAL" clId="{CAB74CB7-6DA4-4355-94E7-F63F4DFDD9E9}" dt="2025-06-27T08:44:12.912" v="826" actId="47"/>
        <pc:sldMkLst>
          <pc:docMk/>
          <pc:sldMk cId="1567361310" sldId="2147483404"/>
        </pc:sldMkLst>
      </pc:sldChg>
      <pc:sldChg chg="del">
        <pc:chgData name="Munarriz Herrador Iñaki" userId="11637121-8aee-420b-9db7-54651cb06796" providerId="ADAL" clId="{CAB74CB7-6DA4-4355-94E7-F63F4DFDD9E9}" dt="2025-06-27T08:44:12.912" v="826" actId="47"/>
        <pc:sldMkLst>
          <pc:docMk/>
          <pc:sldMk cId="559595493" sldId="2147483405"/>
        </pc:sldMkLst>
      </pc:sldChg>
      <pc:sldChg chg="del">
        <pc:chgData name="Munarriz Herrador Iñaki" userId="11637121-8aee-420b-9db7-54651cb06796" providerId="ADAL" clId="{CAB74CB7-6DA4-4355-94E7-F63F4DFDD9E9}" dt="2025-06-27T08:44:12.912" v="826" actId="47"/>
        <pc:sldMkLst>
          <pc:docMk/>
          <pc:sldMk cId="1724892760" sldId="2147483406"/>
        </pc:sldMkLst>
      </pc:sldChg>
      <pc:sldChg chg="del">
        <pc:chgData name="Munarriz Herrador Iñaki" userId="11637121-8aee-420b-9db7-54651cb06796" providerId="ADAL" clId="{CAB74CB7-6DA4-4355-94E7-F63F4DFDD9E9}" dt="2025-06-27T08:44:12.912" v="826" actId="47"/>
        <pc:sldMkLst>
          <pc:docMk/>
          <pc:sldMk cId="3545608862" sldId="2147483407"/>
        </pc:sldMkLst>
      </pc:sldChg>
      <pc:sldChg chg="del">
        <pc:chgData name="Munarriz Herrador Iñaki" userId="11637121-8aee-420b-9db7-54651cb06796" providerId="ADAL" clId="{CAB74CB7-6DA4-4355-94E7-F63F4DFDD9E9}" dt="2025-06-27T08:43:52.422" v="825" actId="47"/>
        <pc:sldMkLst>
          <pc:docMk/>
          <pc:sldMk cId="624714175" sldId="2147483408"/>
        </pc:sldMkLst>
      </pc:sldChg>
      <pc:sldChg chg="addSp delSp modSp mod">
        <pc:chgData name="Munarriz Herrador Iñaki" userId="11637121-8aee-420b-9db7-54651cb06796" providerId="ADAL" clId="{CAB74CB7-6DA4-4355-94E7-F63F4DFDD9E9}" dt="2025-06-30T16:21:35.648" v="1607" actId="554"/>
        <pc:sldMkLst>
          <pc:docMk/>
          <pc:sldMk cId="2428685999" sldId="2147483409"/>
        </pc:sldMkLst>
      </pc:sldChg>
      <pc:sldChg chg="del">
        <pc:chgData name="Munarriz Herrador Iñaki" userId="11637121-8aee-420b-9db7-54651cb06796" providerId="ADAL" clId="{CAB74CB7-6DA4-4355-94E7-F63F4DFDD9E9}" dt="2025-06-27T08:43:52.422" v="825" actId="47"/>
        <pc:sldMkLst>
          <pc:docMk/>
          <pc:sldMk cId="792640642" sldId="2147483410"/>
        </pc:sldMkLst>
      </pc:sldChg>
      <pc:sldChg chg="del">
        <pc:chgData name="Munarriz Herrador Iñaki" userId="11637121-8aee-420b-9db7-54651cb06796" providerId="ADAL" clId="{CAB74CB7-6DA4-4355-94E7-F63F4DFDD9E9}" dt="2025-06-27T08:43:52.422" v="825" actId="47"/>
        <pc:sldMkLst>
          <pc:docMk/>
          <pc:sldMk cId="2680299840" sldId="2147483412"/>
        </pc:sldMkLst>
      </pc:sldChg>
      <pc:sldChg chg="del">
        <pc:chgData name="Munarriz Herrador Iñaki" userId="11637121-8aee-420b-9db7-54651cb06796" providerId="ADAL" clId="{CAB74CB7-6DA4-4355-94E7-F63F4DFDD9E9}" dt="2025-06-27T08:43:52.422" v="825" actId="47"/>
        <pc:sldMkLst>
          <pc:docMk/>
          <pc:sldMk cId="1307132154" sldId="2147483414"/>
        </pc:sldMkLst>
      </pc:sldChg>
      <pc:sldChg chg="addSp delSp modSp mod">
        <pc:chgData name="Munarriz Herrador Iñaki" userId="11637121-8aee-420b-9db7-54651cb06796" providerId="ADAL" clId="{CAB74CB7-6DA4-4355-94E7-F63F4DFDD9E9}" dt="2025-06-30T16:20:57.829" v="1593" actId="14100"/>
        <pc:sldMkLst>
          <pc:docMk/>
          <pc:sldMk cId="17658299" sldId="2147483415"/>
        </pc:sldMkLst>
      </pc:sldChg>
      <pc:sldChg chg="modSp add del mod">
        <pc:chgData name="Munarriz Herrador Iñaki" userId="11637121-8aee-420b-9db7-54651cb06796" providerId="ADAL" clId="{CAB74CB7-6DA4-4355-94E7-F63F4DFDD9E9}" dt="2025-06-30T15:57:52.101" v="1580" actId="20577"/>
        <pc:sldMkLst>
          <pc:docMk/>
          <pc:sldMk cId="2523228152" sldId="2147483416"/>
        </pc:sldMkLst>
      </pc:sldChg>
      <pc:sldChg chg="addSp delSp modSp add del mod">
        <pc:chgData name="Munarriz Herrador Iñaki" userId="11637121-8aee-420b-9db7-54651cb06796" providerId="ADAL" clId="{CAB74CB7-6DA4-4355-94E7-F63F4DFDD9E9}" dt="2025-06-30T15:57:44.642" v="1577" actId="1076"/>
        <pc:sldMkLst>
          <pc:docMk/>
          <pc:sldMk cId="3043515397" sldId="2147483417"/>
        </pc:sldMkLst>
      </pc:sldChg>
      <pc:sldChg chg="add del">
        <pc:chgData name="Munarriz Herrador Iñaki" userId="11637121-8aee-420b-9db7-54651cb06796" providerId="ADAL" clId="{CAB74CB7-6DA4-4355-94E7-F63F4DFDD9E9}" dt="2025-06-27T08:44:12.912" v="826" actId="47"/>
        <pc:sldMkLst>
          <pc:docMk/>
          <pc:sldMk cId="689606832" sldId="2147483418"/>
        </pc:sldMkLst>
      </pc:sldChg>
      <pc:sldChg chg="addSp delSp modSp add mod ord">
        <pc:chgData name="Munarriz Herrador Iñaki" userId="11637121-8aee-420b-9db7-54651cb06796" providerId="ADAL" clId="{CAB74CB7-6DA4-4355-94E7-F63F4DFDD9E9}" dt="2025-06-27T10:54:43.850" v="1262" actId="20577"/>
        <pc:sldMkLst>
          <pc:docMk/>
          <pc:sldMk cId="2941204618" sldId="2147483419"/>
        </pc:sldMkLst>
        <pc:spChg chg="mod">
          <ac:chgData name="Munarriz Herrador Iñaki" userId="11637121-8aee-420b-9db7-54651cb06796" providerId="ADAL" clId="{CAB74CB7-6DA4-4355-94E7-F63F4DFDD9E9}" dt="2025-06-27T10:54:43.850" v="1262" actId="20577"/>
          <ac:spMkLst>
            <pc:docMk/>
            <pc:sldMk cId="2941204618" sldId="2147483419"/>
            <ac:spMk id="2" creationId="{F6F8EF28-670B-3735-C58B-8676A3D87D0A}"/>
          </ac:spMkLst>
        </pc:spChg>
        <pc:spChg chg="mod">
          <ac:chgData name="Munarriz Herrador Iñaki" userId="11637121-8aee-420b-9db7-54651cb06796" providerId="ADAL" clId="{CAB74CB7-6DA4-4355-94E7-F63F4DFDD9E9}" dt="2025-06-26T11:08:59.016" v="75" actId="1076"/>
          <ac:spMkLst>
            <pc:docMk/>
            <pc:sldMk cId="2941204618" sldId="2147483419"/>
            <ac:spMk id="4" creationId="{0694FE0D-BE50-4FD4-49DB-AA015AF33AA0}"/>
          </ac:spMkLst>
        </pc:spChg>
        <pc:spChg chg="mod">
          <ac:chgData name="Munarriz Herrador Iñaki" userId="11637121-8aee-420b-9db7-54651cb06796" providerId="ADAL" clId="{CAB74CB7-6DA4-4355-94E7-F63F4DFDD9E9}" dt="2025-06-26T11:09:20.875" v="78" actId="113"/>
          <ac:spMkLst>
            <pc:docMk/>
            <pc:sldMk cId="2941204618" sldId="2147483419"/>
            <ac:spMk id="6" creationId="{AF532910-AF89-9348-D4E5-3C7AB4BCCCF8}"/>
          </ac:spMkLst>
        </pc:spChg>
        <pc:spChg chg="add mod">
          <ac:chgData name="Munarriz Herrador Iñaki" userId="11637121-8aee-420b-9db7-54651cb06796" providerId="ADAL" clId="{CAB74CB7-6DA4-4355-94E7-F63F4DFDD9E9}" dt="2025-06-26T11:17:26.793" v="197" actId="1036"/>
          <ac:spMkLst>
            <pc:docMk/>
            <pc:sldMk cId="2941204618" sldId="2147483419"/>
            <ac:spMk id="7" creationId="{0CD1FB89-B79A-68F5-F382-C74873F11F94}"/>
          </ac:spMkLst>
        </pc:spChg>
      </pc:sldChg>
      <pc:sldChg chg="addSp delSp modSp add mod ord">
        <pc:chgData name="Munarriz Herrador Iñaki" userId="11637121-8aee-420b-9db7-54651cb06796" providerId="ADAL" clId="{CAB74CB7-6DA4-4355-94E7-F63F4DFDD9E9}" dt="2025-06-27T10:54:35.158" v="1259" actId="20577"/>
        <pc:sldMkLst>
          <pc:docMk/>
          <pc:sldMk cId="2241293320" sldId="2147483420"/>
        </pc:sldMkLst>
        <pc:spChg chg="mod">
          <ac:chgData name="Munarriz Herrador Iñaki" userId="11637121-8aee-420b-9db7-54651cb06796" providerId="ADAL" clId="{CAB74CB7-6DA4-4355-94E7-F63F4DFDD9E9}" dt="2025-06-27T10:54:35.158" v="1259" actId="20577"/>
          <ac:spMkLst>
            <pc:docMk/>
            <pc:sldMk cId="2241293320" sldId="2147483420"/>
            <ac:spMk id="2" creationId="{62748080-A24C-C8C7-404B-5CE92FB764D3}"/>
          </ac:spMkLst>
        </pc:spChg>
        <pc:spChg chg="mod">
          <ac:chgData name="Munarriz Herrador Iñaki" userId="11637121-8aee-420b-9db7-54651cb06796" providerId="ADAL" clId="{CAB74CB7-6DA4-4355-94E7-F63F4DFDD9E9}" dt="2025-06-26T11:10:22.181" v="106" actId="20577"/>
          <ac:spMkLst>
            <pc:docMk/>
            <pc:sldMk cId="2241293320" sldId="2147483420"/>
            <ac:spMk id="4" creationId="{DE110A49-BF26-C4C7-616A-D4DC80F98B09}"/>
          </ac:spMkLst>
        </pc:spChg>
        <pc:spChg chg="mod">
          <ac:chgData name="Munarriz Herrador Iñaki" userId="11637121-8aee-420b-9db7-54651cb06796" providerId="ADAL" clId="{CAB74CB7-6DA4-4355-94E7-F63F4DFDD9E9}" dt="2025-06-26T11:10:59.748" v="124" actId="20577"/>
          <ac:spMkLst>
            <pc:docMk/>
            <pc:sldMk cId="2241293320" sldId="2147483420"/>
            <ac:spMk id="6" creationId="{FF637865-3E85-3203-374B-2C19432A6B73}"/>
          </ac:spMkLst>
        </pc:spChg>
        <pc:spChg chg="add mod">
          <ac:chgData name="Munarriz Herrador Iñaki" userId="11637121-8aee-420b-9db7-54651cb06796" providerId="ADAL" clId="{CAB74CB7-6DA4-4355-94E7-F63F4DFDD9E9}" dt="2025-06-26T11:18:28.987" v="203" actId="6549"/>
          <ac:spMkLst>
            <pc:docMk/>
            <pc:sldMk cId="2241293320" sldId="2147483420"/>
            <ac:spMk id="7" creationId="{FCE7AFCD-8BA0-57CC-92DA-5259FF6D04FC}"/>
          </ac:spMkLst>
        </pc:spChg>
      </pc:sldChg>
      <pc:sldChg chg="addSp delSp modSp add mod">
        <pc:chgData name="Munarriz Herrador Iñaki" userId="11637121-8aee-420b-9db7-54651cb06796" providerId="ADAL" clId="{CAB74CB7-6DA4-4355-94E7-F63F4DFDD9E9}" dt="2025-06-27T10:54:38.456" v="1260" actId="20577"/>
        <pc:sldMkLst>
          <pc:docMk/>
          <pc:sldMk cId="3338159658" sldId="2147483421"/>
        </pc:sldMkLst>
        <pc:spChg chg="mod">
          <ac:chgData name="Munarriz Herrador Iñaki" userId="11637121-8aee-420b-9db7-54651cb06796" providerId="ADAL" clId="{CAB74CB7-6DA4-4355-94E7-F63F4DFDD9E9}" dt="2025-06-27T10:54:38.456" v="1260" actId="20577"/>
          <ac:spMkLst>
            <pc:docMk/>
            <pc:sldMk cId="3338159658" sldId="2147483421"/>
            <ac:spMk id="2" creationId="{3B37F899-FA53-4C24-4646-4B6B9E903329}"/>
          </ac:spMkLst>
        </pc:spChg>
        <pc:spChg chg="mod">
          <ac:chgData name="Munarriz Herrador Iñaki" userId="11637121-8aee-420b-9db7-54651cb06796" providerId="ADAL" clId="{CAB74CB7-6DA4-4355-94E7-F63F4DFDD9E9}" dt="2025-06-26T11:25:59.919" v="230" actId="20577"/>
          <ac:spMkLst>
            <pc:docMk/>
            <pc:sldMk cId="3338159658" sldId="2147483421"/>
            <ac:spMk id="4" creationId="{0F66483D-300F-864B-E899-DF51DDBEE45B}"/>
          </ac:spMkLst>
        </pc:spChg>
        <pc:spChg chg="mod">
          <ac:chgData name="Munarriz Herrador Iñaki" userId="11637121-8aee-420b-9db7-54651cb06796" providerId="ADAL" clId="{CAB74CB7-6DA4-4355-94E7-F63F4DFDD9E9}" dt="2025-06-26T11:27:35.455" v="247" actId="20577"/>
          <ac:spMkLst>
            <pc:docMk/>
            <pc:sldMk cId="3338159658" sldId="2147483421"/>
            <ac:spMk id="6" creationId="{1066E964-838A-CADB-44E4-9CC80E76975A}"/>
          </ac:spMkLst>
        </pc:spChg>
        <pc:spChg chg="mod">
          <ac:chgData name="Munarriz Herrador Iñaki" userId="11637121-8aee-420b-9db7-54651cb06796" providerId="ADAL" clId="{CAB74CB7-6DA4-4355-94E7-F63F4DFDD9E9}" dt="2025-06-26T11:23:59.233" v="224" actId="20577"/>
          <ac:spMkLst>
            <pc:docMk/>
            <pc:sldMk cId="3338159658" sldId="2147483421"/>
            <ac:spMk id="7" creationId="{2C231F40-ED21-060A-0A17-1851668B7FFA}"/>
          </ac:spMkLst>
        </pc:spChg>
      </pc:sldChg>
      <pc:sldChg chg="addSp delSp modSp add mod">
        <pc:chgData name="Munarriz Herrador Iñaki" userId="11637121-8aee-420b-9db7-54651cb06796" providerId="ADAL" clId="{CAB74CB7-6DA4-4355-94E7-F63F4DFDD9E9}" dt="2025-06-27T10:54:40.642" v="1261" actId="20577"/>
        <pc:sldMkLst>
          <pc:docMk/>
          <pc:sldMk cId="2221249643" sldId="2147483422"/>
        </pc:sldMkLst>
        <pc:spChg chg="mod">
          <ac:chgData name="Munarriz Herrador Iñaki" userId="11637121-8aee-420b-9db7-54651cb06796" providerId="ADAL" clId="{CAB74CB7-6DA4-4355-94E7-F63F4DFDD9E9}" dt="2025-06-27T10:54:40.642" v="1261" actId="20577"/>
          <ac:spMkLst>
            <pc:docMk/>
            <pc:sldMk cId="2221249643" sldId="2147483422"/>
            <ac:spMk id="2" creationId="{9D2F6C1D-FEDC-702C-5020-F94D872F3968}"/>
          </ac:spMkLst>
        </pc:spChg>
        <pc:spChg chg="mod">
          <ac:chgData name="Munarriz Herrador Iñaki" userId="11637121-8aee-420b-9db7-54651cb06796" providerId="ADAL" clId="{CAB74CB7-6DA4-4355-94E7-F63F4DFDD9E9}" dt="2025-06-26T11:31:57.705" v="254"/>
          <ac:spMkLst>
            <pc:docMk/>
            <pc:sldMk cId="2221249643" sldId="2147483422"/>
            <ac:spMk id="4" creationId="{D808C393-A724-2032-9DE8-0B1B1BCFE463}"/>
          </ac:spMkLst>
        </pc:spChg>
        <pc:spChg chg="mod">
          <ac:chgData name="Munarriz Herrador Iñaki" userId="11637121-8aee-420b-9db7-54651cb06796" providerId="ADAL" clId="{CAB74CB7-6DA4-4355-94E7-F63F4DFDD9E9}" dt="2025-06-26T11:32:26.242" v="264" actId="113"/>
          <ac:spMkLst>
            <pc:docMk/>
            <pc:sldMk cId="2221249643" sldId="2147483422"/>
            <ac:spMk id="6" creationId="{646AC361-A9CD-B09B-FD22-3A537C56C047}"/>
          </ac:spMkLst>
        </pc:spChg>
        <pc:spChg chg="mod">
          <ac:chgData name="Munarriz Herrador Iñaki" userId="11637121-8aee-420b-9db7-54651cb06796" providerId="ADAL" clId="{CAB74CB7-6DA4-4355-94E7-F63F4DFDD9E9}" dt="2025-06-26T11:33:10.529" v="271" actId="6549"/>
          <ac:spMkLst>
            <pc:docMk/>
            <pc:sldMk cId="2221249643" sldId="2147483422"/>
            <ac:spMk id="7" creationId="{F411F693-FDAB-4FEE-A7CF-AF434D3FE9C7}"/>
          </ac:spMkLst>
        </pc:spChg>
      </pc:sldChg>
      <pc:sldChg chg="addSp delSp modSp add mod ord">
        <pc:chgData name="Munarriz Herrador Iñaki" userId="11637121-8aee-420b-9db7-54651cb06796" providerId="ADAL" clId="{CAB74CB7-6DA4-4355-94E7-F63F4DFDD9E9}" dt="2025-06-27T11:31:56.722" v="1340" actId="20577"/>
        <pc:sldMkLst>
          <pc:docMk/>
          <pc:sldMk cId="2604043654" sldId="2147483423"/>
        </pc:sldMkLst>
        <pc:spChg chg="mod">
          <ac:chgData name="Munarriz Herrador Iñaki" userId="11637121-8aee-420b-9db7-54651cb06796" providerId="ADAL" clId="{CAB74CB7-6DA4-4355-94E7-F63F4DFDD9E9}" dt="2025-06-27T10:54:28.618" v="1257" actId="20577"/>
          <ac:spMkLst>
            <pc:docMk/>
            <pc:sldMk cId="2604043654" sldId="2147483423"/>
            <ac:spMk id="2" creationId="{C8035EEC-9AC8-B71D-AB5F-8B13BF6A5FF3}"/>
          </ac:spMkLst>
        </pc:spChg>
        <pc:spChg chg="mod">
          <ac:chgData name="Munarriz Herrador Iñaki" userId="11637121-8aee-420b-9db7-54651cb06796" providerId="ADAL" clId="{CAB74CB7-6DA4-4355-94E7-F63F4DFDD9E9}" dt="2025-06-27T11:31:56.722" v="1340" actId="20577"/>
          <ac:spMkLst>
            <pc:docMk/>
            <pc:sldMk cId="2604043654" sldId="2147483423"/>
            <ac:spMk id="4" creationId="{8D235F53-2B5B-5D30-E390-E1F1E98DDD46}"/>
          </ac:spMkLst>
        </pc:spChg>
        <pc:spChg chg="mod">
          <ac:chgData name="Munarriz Herrador Iñaki" userId="11637121-8aee-420b-9db7-54651cb06796" providerId="ADAL" clId="{CAB74CB7-6DA4-4355-94E7-F63F4DFDD9E9}" dt="2025-06-27T11:31:43.940" v="1338" actId="113"/>
          <ac:spMkLst>
            <pc:docMk/>
            <pc:sldMk cId="2604043654" sldId="2147483423"/>
            <ac:spMk id="6" creationId="{7F3A3E6B-049F-605D-9A22-A38D364AFB3E}"/>
          </ac:spMkLst>
        </pc:spChg>
        <pc:spChg chg="mod">
          <ac:chgData name="Munarriz Herrador Iñaki" userId="11637121-8aee-420b-9db7-54651cb06796" providerId="ADAL" clId="{CAB74CB7-6DA4-4355-94E7-F63F4DFDD9E9}" dt="2025-06-27T10:24:59.489" v="1177" actId="1036"/>
          <ac:spMkLst>
            <pc:docMk/>
            <pc:sldMk cId="2604043654" sldId="2147483423"/>
            <ac:spMk id="7" creationId="{2C7BA4D6-FEDC-25EB-0371-FF4CD00D153F}"/>
          </ac:spMkLst>
        </pc:spChg>
      </pc:sldChg>
      <pc:sldChg chg="addSp delSp modSp add del mod">
        <pc:chgData name="Munarriz Herrador Iñaki" userId="11637121-8aee-420b-9db7-54651cb06796" providerId="ADAL" clId="{CAB74CB7-6DA4-4355-94E7-F63F4DFDD9E9}" dt="2025-06-27T08:53:16.995" v="830" actId="47"/>
        <pc:sldMkLst>
          <pc:docMk/>
          <pc:sldMk cId="1092868967" sldId="2147483424"/>
        </pc:sldMkLst>
      </pc:sldChg>
      <pc:sldChg chg="addSp delSp modSp add mod">
        <pc:chgData name="Munarriz Herrador Iñaki" userId="11637121-8aee-420b-9db7-54651cb06796" providerId="ADAL" clId="{CAB74CB7-6DA4-4355-94E7-F63F4DFDD9E9}" dt="2025-06-27T08:37:13.127" v="777" actId="693"/>
        <pc:sldMkLst>
          <pc:docMk/>
          <pc:sldMk cId="4052193775" sldId="2147483425"/>
        </pc:sldMkLst>
        <pc:spChg chg="mod">
          <ac:chgData name="Munarriz Herrador Iñaki" userId="11637121-8aee-420b-9db7-54651cb06796" providerId="ADAL" clId="{CAB74CB7-6DA4-4355-94E7-F63F4DFDD9E9}" dt="2025-06-26T16:46:13.944" v="611" actId="20577"/>
          <ac:spMkLst>
            <pc:docMk/>
            <pc:sldMk cId="4052193775" sldId="2147483425"/>
            <ac:spMk id="2" creationId="{9E0CA661-A3CD-00A8-76B0-37D044EE79BC}"/>
          </ac:spMkLst>
        </pc:spChg>
        <pc:spChg chg="mod">
          <ac:chgData name="Munarriz Herrador Iñaki" userId="11637121-8aee-420b-9db7-54651cb06796" providerId="ADAL" clId="{CAB74CB7-6DA4-4355-94E7-F63F4DFDD9E9}" dt="2025-06-27T08:36:24.132" v="758" actId="14100"/>
          <ac:spMkLst>
            <pc:docMk/>
            <pc:sldMk cId="4052193775" sldId="2147483425"/>
            <ac:spMk id="6" creationId="{3B21D5C8-2E81-D7A0-C9FE-DF1A7F622938}"/>
          </ac:spMkLst>
        </pc:spChg>
      </pc:sldChg>
      <pc:sldChg chg="addSp delSp modSp add mod">
        <pc:chgData name="Munarriz Herrador Iñaki" userId="11637121-8aee-420b-9db7-54651cb06796" providerId="ADAL" clId="{CAB74CB7-6DA4-4355-94E7-F63F4DFDD9E9}" dt="2025-06-26T15:30:59.644" v="517" actId="20577"/>
        <pc:sldMkLst>
          <pc:docMk/>
          <pc:sldMk cId="311068668" sldId="2147483426"/>
        </pc:sldMkLst>
      </pc:sldChg>
      <pc:sldChg chg="addSp delSp modSp add mod">
        <pc:chgData name="Munarriz Herrador Iñaki" userId="11637121-8aee-420b-9db7-54651cb06796" providerId="ADAL" clId="{CAB74CB7-6DA4-4355-94E7-F63F4DFDD9E9}" dt="2025-06-27T09:45:13.859" v="1026"/>
        <pc:sldMkLst>
          <pc:docMk/>
          <pc:sldMk cId="3711774561" sldId="2147483427"/>
        </pc:sldMkLst>
      </pc:sldChg>
      <pc:sldChg chg="add del">
        <pc:chgData name="Munarriz Herrador Iñaki" userId="11637121-8aee-420b-9db7-54651cb06796" providerId="ADAL" clId="{CAB74CB7-6DA4-4355-94E7-F63F4DFDD9E9}" dt="2025-06-26T16:46:39.744" v="612" actId="47"/>
        <pc:sldMkLst>
          <pc:docMk/>
          <pc:sldMk cId="3988699588" sldId="2147483428"/>
        </pc:sldMkLst>
      </pc:sldChg>
      <pc:sldChg chg="addSp delSp modSp add mod">
        <pc:chgData name="Munarriz Herrador Iñaki" userId="11637121-8aee-420b-9db7-54651cb06796" providerId="ADAL" clId="{CAB74CB7-6DA4-4355-94E7-F63F4DFDD9E9}" dt="2025-06-27T08:43:29.798" v="824" actId="20577"/>
        <pc:sldMkLst>
          <pc:docMk/>
          <pc:sldMk cId="2610362918" sldId="2147483429"/>
        </pc:sldMkLst>
      </pc:sldChg>
      <pc:sldChg chg="addSp modSp add mod">
        <pc:chgData name="Munarriz Herrador Iñaki" userId="11637121-8aee-420b-9db7-54651cb06796" providerId="ADAL" clId="{CAB74CB7-6DA4-4355-94E7-F63F4DFDD9E9}" dt="2025-06-27T08:41:09.408" v="803" actId="1076"/>
        <pc:sldMkLst>
          <pc:docMk/>
          <pc:sldMk cId="2915422796" sldId="2147483430"/>
        </pc:sldMkLst>
      </pc:sldChg>
      <pc:sldChg chg="addSp modSp add mod">
        <pc:chgData name="Munarriz Herrador Iñaki" userId="11637121-8aee-420b-9db7-54651cb06796" providerId="ADAL" clId="{CAB74CB7-6DA4-4355-94E7-F63F4DFDD9E9}" dt="2025-06-27T09:47:53.936" v="1103" actId="1038"/>
        <pc:sldMkLst>
          <pc:docMk/>
          <pc:sldMk cId="1786951196" sldId="2147483431"/>
        </pc:sldMkLst>
      </pc:sldChg>
    </pc:docChg>
  </pc:docChgLst>
  <pc:docChgLst>
    <pc:chgData name="Munarriz Herrador Iñaki" userId="11637121-8aee-420b-9db7-54651cb06796" providerId="ADAL" clId="{2C3D0F59-EDFA-4449-90D5-79281DD6DAB5}"/>
    <pc:docChg chg="undo custSel addSld delSld modSld sldOrd modSection">
      <pc:chgData name="Munarriz Herrador Iñaki" userId="11637121-8aee-420b-9db7-54651cb06796" providerId="ADAL" clId="{2C3D0F59-EDFA-4449-90D5-79281DD6DAB5}" dt="2025-01-27T16:09:21.311" v="5151" actId="1076"/>
      <pc:docMkLst>
        <pc:docMk/>
      </pc:docMkLst>
      <pc:sldChg chg="del">
        <pc:chgData name="Munarriz Herrador Iñaki" userId="11637121-8aee-420b-9db7-54651cb06796" providerId="ADAL" clId="{2C3D0F59-EDFA-4449-90D5-79281DD6DAB5}" dt="2025-01-24T12:34:43.372" v="4172" actId="47"/>
        <pc:sldMkLst>
          <pc:docMk/>
          <pc:sldMk cId="1616658181" sldId="806"/>
        </pc:sldMkLst>
      </pc:sldChg>
      <pc:sldChg chg="del">
        <pc:chgData name="Munarriz Herrador Iñaki" userId="11637121-8aee-420b-9db7-54651cb06796" providerId="ADAL" clId="{2C3D0F59-EDFA-4449-90D5-79281DD6DAB5}" dt="2025-01-24T12:34:43.372" v="4172" actId="47"/>
        <pc:sldMkLst>
          <pc:docMk/>
          <pc:sldMk cId="128532313" sldId="827"/>
        </pc:sldMkLst>
      </pc:sldChg>
      <pc:sldChg chg="del">
        <pc:chgData name="Munarriz Herrador Iñaki" userId="11637121-8aee-420b-9db7-54651cb06796" providerId="ADAL" clId="{2C3D0F59-EDFA-4449-90D5-79281DD6DAB5}" dt="2025-01-24T12:34:43.372" v="4172" actId="47"/>
        <pc:sldMkLst>
          <pc:docMk/>
          <pc:sldMk cId="3904767837" sldId="828"/>
        </pc:sldMkLst>
      </pc:sldChg>
      <pc:sldChg chg="del">
        <pc:chgData name="Munarriz Herrador Iñaki" userId="11637121-8aee-420b-9db7-54651cb06796" providerId="ADAL" clId="{2C3D0F59-EDFA-4449-90D5-79281DD6DAB5}" dt="2025-01-24T12:34:43.372" v="4172" actId="47"/>
        <pc:sldMkLst>
          <pc:docMk/>
          <pc:sldMk cId="1054402032" sldId="829"/>
        </pc:sldMkLst>
      </pc:sldChg>
      <pc:sldChg chg="del">
        <pc:chgData name="Munarriz Herrador Iñaki" userId="11637121-8aee-420b-9db7-54651cb06796" providerId="ADAL" clId="{2C3D0F59-EDFA-4449-90D5-79281DD6DAB5}" dt="2025-01-24T12:34:43.372" v="4172" actId="47"/>
        <pc:sldMkLst>
          <pc:docMk/>
          <pc:sldMk cId="3474182341" sldId="830"/>
        </pc:sldMkLst>
      </pc:sldChg>
      <pc:sldChg chg="modSp mod">
        <pc:chgData name="Munarriz Herrador Iñaki" userId="11637121-8aee-420b-9db7-54651cb06796" providerId="ADAL" clId="{2C3D0F59-EDFA-4449-90D5-79281DD6DAB5}" dt="2025-01-23T16:08:53.805" v="1171" actId="20577"/>
        <pc:sldMkLst>
          <pc:docMk/>
          <pc:sldMk cId="0" sldId="2147483315"/>
        </pc:sldMkLst>
      </pc:sldChg>
      <pc:sldChg chg="del">
        <pc:chgData name="Munarriz Herrador Iñaki" userId="11637121-8aee-420b-9db7-54651cb06796" providerId="ADAL" clId="{2C3D0F59-EDFA-4449-90D5-79281DD6DAB5}" dt="2025-01-24T12:34:43.372" v="4172" actId="47"/>
        <pc:sldMkLst>
          <pc:docMk/>
          <pc:sldMk cId="837960401" sldId="2147483316"/>
        </pc:sldMkLst>
      </pc:sldChg>
      <pc:sldChg chg="del">
        <pc:chgData name="Munarriz Herrador Iñaki" userId="11637121-8aee-420b-9db7-54651cb06796" providerId="ADAL" clId="{2C3D0F59-EDFA-4449-90D5-79281DD6DAB5}" dt="2025-01-24T12:34:43.372" v="4172" actId="47"/>
        <pc:sldMkLst>
          <pc:docMk/>
          <pc:sldMk cId="402773593" sldId="2147483317"/>
        </pc:sldMkLst>
      </pc:sldChg>
      <pc:sldChg chg="del">
        <pc:chgData name="Munarriz Herrador Iñaki" userId="11637121-8aee-420b-9db7-54651cb06796" providerId="ADAL" clId="{2C3D0F59-EDFA-4449-90D5-79281DD6DAB5}" dt="2025-01-24T12:34:43.372" v="4172" actId="47"/>
        <pc:sldMkLst>
          <pc:docMk/>
          <pc:sldMk cId="3749504679" sldId="2147483318"/>
        </pc:sldMkLst>
      </pc:sldChg>
      <pc:sldChg chg="modSp add del mod">
        <pc:chgData name="Munarriz Herrador Iñaki" userId="11637121-8aee-420b-9db7-54651cb06796" providerId="ADAL" clId="{2C3D0F59-EDFA-4449-90D5-79281DD6DAB5}" dt="2025-01-23T15:43:06.260" v="393" actId="47"/>
        <pc:sldMkLst>
          <pc:docMk/>
          <pc:sldMk cId="548997039" sldId="2147483371"/>
        </pc:sldMkLst>
      </pc:sldChg>
      <pc:sldChg chg="addSp delSp modSp add mod">
        <pc:chgData name="Munarriz Herrador Iñaki" userId="11637121-8aee-420b-9db7-54651cb06796" providerId="ADAL" clId="{2C3D0F59-EDFA-4449-90D5-79281DD6DAB5}" dt="2025-01-24T12:25:53.088" v="4071" actId="20577"/>
        <pc:sldMkLst>
          <pc:docMk/>
          <pc:sldMk cId="88093545" sldId="2147483372"/>
        </pc:sldMkLst>
      </pc:sldChg>
      <pc:sldChg chg="addSp delSp modSp add mod ord">
        <pc:chgData name="Munarriz Herrador Iñaki" userId="11637121-8aee-420b-9db7-54651cb06796" providerId="ADAL" clId="{2C3D0F59-EDFA-4449-90D5-79281DD6DAB5}" dt="2025-01-24T13:14:45.156" v="4213" actId="113"/>
        <pc:sldMkLst>
          <pc:docMk/>
          <pc:sldMk cId="1243781170" sldId="2147483373"/>
        </pc:sldMkLst>
      </pc:sldChg>
      <pc:sldChg chg="new del">
        <pc:chgData name="Munarriz Herrador Iñaki" userId="11637121-8aee-420b-9db7-54651cb06796" providerId="ADAL" clId="{2C3D0F59-EDFA-4449-90D5-79281DD6DAB5}" dt="2025-01-23T15:36:40.221" v="285" actId="47"/>
        <pc:sldMkLst>
          <pc:docMk/>
          <pc:sldMk cId="1270524578" sldId="2147483373"/>
        </pc:sldMkLst>
      </pc:sldChg>
      <pc:sldChg chg="addSp delSp modSp add mod setBg">
        <pc:chgData name="Munarriz Herrador Iñaki" userId="11637121-8aee-420b-9db7-54651cb06796" providerId="ADAL" clId="{2C3D0F59-EDFA-4449-90D5-79281DD6DAB5}" dt="2025-01-27T08:15:27.464" v="4360" actId="1076"/>
        <pc:sldMkLst>
          <pc:docMk/>
          <pc:sldMk cId="3267060004" sldId="2147483374"/>
        </pc:sldMkLst>
      </pc:sldChg>
      <pc:sldChg chg="addSp delSp modSp add mod">
        <pc:chgData name="Munarriz Herrador Iñaki" userId="11637121-8aee-420b-9db7-54651cb06796" providerId="ADAL" clId="{2C3D0F59-EDFA-4449-90D5-79281DD6DAB5}" dt="2025-01-24T11:12:21.600" v="3175" actId="14100"/>
        <pc:sldMkLst>
          <pc:docMk/>
          <pc:sldMk cId="61861682" sldId="2147483375"/>
        </pc:sldMkLst>
      </pc:sldChg>
      <pc:sldChg chg="addSp modSp add del mod">
        <pc:chgData name="Munarriz Herrador Iñaki" userId="11637121-8aee-420b-9db7-54651cb06796" providerId="ADAL" clId="{2C3D0F59-EDFA-4449-90D5-79281DD6DAB5}" dt="2025-01-24T12:05:01.666" v="3805" actId="47"/>
        <pc:sldMkLst>
          <pc:docMk/>
          <pc:sldMk cId="1239163435" sldId="2147483376"/>
        </pc:sldMkLst>
      </pc:sldChg>
      <pc:sldChg chg="addSp modSp add del mod">
        <pc:chgData name="Munarriz Herrador Iñaki" userId="11637121-8aee-420b-9db7-54651cb06796" providerId="ADAL" clId="{2C3D0F59-EDFA-4449-90D5-79281DD6DAB5}" dt="2025-01-24T12:26:12.179" v="4072" actId="47"/>
        <pc:sldMkLst>
          <pc:docMk/>
          <pc:sldMk cId="3161292302" sldId="2147483377"/>
        </pc:sldMkLst>
      </pc:sldChg>
      <pc:sldChg chg="addSp modSp add mod">
        <pc:chgData name="Munarriz Herrador Iñaki" userId="11637121-8aee-420b-9db7-54651cb06796" providerId="ADAL" clId="{2C3D0F59-EDFA-4449-90D5-79281DD6DAB5}" dt="2025-01-27T11:32:34.245" v="4838" actId="20577"/>
        <pc:sldMkLst>
          <pc:docMk/>
          <pc:sldMk cId="3116799561" sldId="2147483378"/>
        </pc:sldMkLst>
      </pc:sldChg>
      <pc:sldChg chg="addSp delSp modSp add mod">
        <pc:chgData name="Munarriz Herrador Iñaki" userId="11637121-8aee-420b-9db7-54651cb06796" providerId="ADAL" clId="{2C3D0F59-EDFA-4449-90D5-79281DD6DAB5}" dt="2025-01-24T13:13:41.478" v="4205" actId="113"/>
        <pc:sldMkLst>
          <pc:docMk/>
          <pc:sldMk cId="2818866366" sldId="2147483379"/>
        </pc:sldMkLst>
      </pc:sldChg>
      <pc:sldChg chg="addSp delSp modSp add mod">
        <pc:chgData name="Munarriz Herrador Iñaki" userId="11637121-8aee-420b-9db7-54651cb06796" providerId="ADAL" clId="{2C3D0F59-EDFA-4449-90D5-79281DD6DAB5}" dt="2025-01-24T13:30:37.129" v="4289" actId="20577"/>
        <pc:sldMkLst>
          <pc:docMk/>
          <pc:sldMk cId="2837213026" sldId="2147483380"/>
        </pc:sldMkLst>
      </pc:sldChg>
      <pc:sldChg chg="addSp delSp modSp add del mod">
        <pc:chgData name="Munarriz Herrador Iñaki" userId="11637121-8aee-420b-9db7-54651cb06796" providerId="ADAL" clId="{2C3D0F59-EDFA-4449-90D5-79281DD6DAB5}" dt="2025-01-24T12:05:00.683" v="3804" actId="47"/>
        <pc:sldMkLst>
          <pc:docMk/>
          <pc:sldMk cId="2583614594" sldId="2147483381"/>
        </pc:sldMkLst>
      </pc:sldChg>
      <pc:sldChg chg="addSp delSp modSp add del mod">
        <pc:chgData name="Munarriz Herrador Iñaki" userId="11637121-8aee-420b-9db7-54651cb06796" providerId="ADAL" clId="{2C3D0F59-EDFA-4449-90D5-79281DD6DAB5}" dt="2025-01-24T09:26:06.545" v="2976" actId="47"/>
        <pc:sldMkLst>
          <pc:docMk/>
          <pc:sldMk cId="2527052421" sldId="2147483382"/>
        </pc:sldMkLst>
      </pc:sldChg>
      <pc:sldChg chg="addSp delSp modSp add del mod">
        <pc:chgData name="Munarriz Herrador Iñaki" userId="11637121-8aee-420b-9db7-54651cb06796" providerId="ADAL" clId="{2C3D0F59-EDFA-4449-90D5-79281DD6DAB5}" dt="2025-01-24T09:26:02.470" v="2975" actId="47"/>
        <pc:sldMkLst>
          <pc:docMk/>
          <pc:sldMk cId="4122967616" sldId="2147483383"/>
        </pc:sldMkLst>
      </pc:sldChg>
      <pc:sldChg chg="addSp delSp modSp add mod">
        <pc:chgData name="Munarriz Herrador Iñaki" userId="11637121-8aee-420b-9db7-54651cb06796" providerId="ADAL" clId="{2C3D0F59-EDFA-4449-90D5-79281DD6DAB5}" dt="2025-01-27T11:30:24.482" v="4723" actId="20577"/>
        <pc:sldMkLst>
          <pc:docMk/>
          <pc:sldMk cId="2100245951" sldId="2147483384"/>
        </pc:sldMkLst>
      </pc:sldChg>
      <pc:sldChg chg="addSp modSp add del mod">
        <pc:chgData name="Munarriz Herrador Iñaki" userId="11637121-8aee-420b-9db7-54651cb06796" providerId="ADAL" clId="{2C3D0F59-EDFA-4449-90D5-79281DD6DAB5}" dt="2025-01-27T12:14:43.207" v="5128" actId="47"/>
        <pc:sldMkLst>
          <pc:docMk/>
          <pc:sldMk cId="1402537860" sldId="2147483385"/>
        </pc:sldMkLst>
      </pc:sldChg>
      <pc:sldChg chg="addSp delSp modSp add mod ord">
        <pc:chgData name="Munarriz Herrador Iñaki" userId="11637121-8aee-420b-9db7-54651cb06796" providerId="ADAL" clId="{2C3D0F59-EDFA-4449-90D5-79281DD6DAB5}" dt="2025-01-27T12:14:51.140" v="5129" actId="14100"/>
        <pc:sldMkLst>
          <pc:docMk/>
          <pc:sldMk cId="2201393827" sldId="2147483386"/>
        </pc:sldMkLst>
      </pc:sldChg>
      <pc:sldChg chg="addSp delSp modSp add mod">
        <pc:chgData name="Munarriz Herrador Iñaki" userId="11637121-8aee-420b-9db7-54651cb06796" providerId="ADAL" clId="{2C3D0F59-EDFA-4449-90D5-79281DD6DAB5}" dt="2025-01-27T16:09:21.311" v="5151" actId="1076"/>
        <pc:sldMkLst>
          <pc:docMk/>
          <pc:sldMk cId="1177571145" sldId="2147483387"/>
        </pc:sldMkLst>
      </pc:sldChg>
    </pc:docChg>
  </pc:docChgLst>
  <pc:docChgLst>
    <pc:chgData name="Munarriz Herrador Iñaki" userId="11637121-8aee-420b-9db7-54651cb06796" providerId="ADAL" clId="{028FF6F6-5B42-4493-A926-90FAA58B796E}"/>
    <pc:docChg chg="undo redo custSel addSld delSld modSld sldOrd modSection">
      <pc:chgData name="Munarriz Herrador Iñaki" userId="11637121-8aee-420b-9db7-54651cb06796" providerId="ADAL" clId="{028FF6F6-5B42-4493-A926-90FAA58B796E}" dt="2025-03-20T14:51:52.641" v="3792"/>
      <pc:docMkLst>
        <pc:docMk/>
      </pc:docMkLst>
      <pc:sldChg chg="modSp mod">
        <pc:chgData name="Munarriz Herrador Iñaki" userId="11637121-8aee-420b-9db7-54651cb06796" providerId="ADAL" clId="{028FF6F6-5B42-4493-A926-90FAA58B796E}" dt="2025-03-19T17:00:12.720" v="35" actId="20577"/>
        <pc:sldMkLst>
          <pc:docMk/>
          <pc:sldMk cId="0" sldId="2147483315"/>
        </pc:sldMkLst>
      </pc:sldChg>
      <pc:sldChg chg="modSp add mod">
        <pc:chgData name="Munarriz Herrador Iñaki" userId="11637121-8aee-420b-9db7-54651cb06796" providerId="ADAL" clId="{028FF6F6-5B42-4493-A926-90FAA58B796E}" dt="2025-03-20T07:59:19.813" v="1936" actId="20577"/>
        <pc:sldMkLst>
          <pc:docMk/>
          <pc:sldMk cId="88093545" sldId="2147483372"/>
        </pc:sldMkLst>
      </pc:sldChg>
      <pc:sldChg chg="addSp delSp modSp mod">
        <pc:chgData name="Munarriz Herrador Iñaki" userId="11637121-8aee-420b-9db7-54651cb06796" providerId="ADAL" clId="{028FF6F6-5B42-4493-A926-90FAA58B796E}" dt="2025-03-20T08:44:57.924" v="3094" actId="20577"/>
        <pc:sldMkLst>
          <pc:docMk/>
          <pc:sldMk cId="1243781170" sldId="2147483373"/>
        </pc:sldMkLst>
      </pc:sldChg>
      <pc:sldChg chg="addSp delSp modSp mod ord">
        <pc:chgData name="Munarriz Herrador Iñaki" userId="11637121-8aee-420b-9db7-54651cb06796" providerId="ADAL" clId="{028FF6F6-5B42-4493-A926-90FAA58B796E}" dt="2025-03-20T09:07:53.148" v="3388" actId="20577"/>
        <pc:sldMkLst>
          <pc:docMk/>
          <pc:sldMk cId="2818866366" sldId="2147483379"/>
        </pc:sldMkLst>
      </pc:sldChg>
      <pc:sldChg chg="delSp modSp mod">
        <pc:chgData name="Munarriz Herrador Iñaki" userId="11637121-8aee-420b-9db7-54651cb06796" providerId="ADAL" clId="{028FF6F6-5B42-4493-A926-90FAA58B796E}" dt="2025-03-19T23:07:26.854" v="1724" actId="255"/>
        <pc:sldMkLst>
          <pc:docMk/>
          <pc:sldMk cId="3033939552" sldId="2147483388"/>
        </pc:sldMkLst>
      </pc:sldChg>
      <pc:sldChg chg="addSp delSp modSp mod ord">
        <pc:chgData name="Munarriz Herrador Iñaki" userId="11637121-8aee-420b-9db7-54651cb06796" providerId="ADAL" clId="{028FF6F6-5B42-4493-A926-90FAA58B796E}" dt="2025-03-20T08:53:30.506" v="3188" actId="478"/>
        <pc:sldMkLst>
          <pc:docMk/>
          <pc:sldMk cId="937404720" sldId="2147483389"/>
        </pc:sldMkLst>
      </pc:sldChg>
      <pc:sldChg chg="ord">
        <pc:chgData name="Munarriz Herrador Iñaki" userId="11637121-8aee-420b-9db7-54651cb06796" providerId="ADAL" clId="{028FF6F6-5B42-4493-A926-90FAA58B796E}" dt="2025-03-19T23:08:14.105" v="1730"/>
        <pc:sldMkLst>
          <pc:docMk/>
          <pc:sldMk cId="538967907" sldId="2147483390"/>
        </pc:sldMkLst>
      </pc:sldChg>
      <pc:sldChg chg="ord">
        <pc:chgData name="Munarriz Herrador Iñaki" userId="11637121-8aee-420b-9db7-54651cb06796" providerId="ADAL" clId="{028FF6F6-5B42-4493-A926-90FAA58B796E}" dt="2025-03-19T23:08:14.105" v="1730"/>
        <pc:sldMkLst>
          <pc:docMk/>
          <pc:sldMk cId="2900280720" sldId="2147483391"/>
        </pc:sldMkLst>
      </pc:sldChg>
      <pc:sldChg chg="del">
        <pc:chgData name="Munarriz Herrador Iñaki" userId="11637121-8aee-420b-9db7-54651cb06796" providerId="ADAL" clId="{028FF6F6-5B42-4493-A926-90FAA58B796E}" dt="2025-03-19T23:08:39.984" v="1731" actId="47"/>
        <pc:sldMkLst>
          <pc:docMk/>
          <pc:sldMk cId="2732855569" sldId="2147483392"/>
        </pc:sldMkLst>
      </pc:sldChg>
      <pc:sldChg chg="del">
        <pc:chgData name="Munarriz Herrador Iñaki" userId="11637121-8aee-420b-9db7-54651cb06796" providerId="ADAL" clId="{028FF6F6-5B42-4493-A926-90FAA58B796E}" dt="2025-03-19T23:07:34.665" v="1725" actId="47"/>
        <pc:sldMkLst>
          <pc:docMk/>
          <pc:sldMk cId="45361350" sldId="2147483393"/>
        </pc:sldMkLst>
      </pc:sldChg>
      <pc:sldChg chg="del">
        <pc:chgData name="Munarriz Herrador Iñaki" userId="11637121-8aee-420b-9db7-54651cb06796" providerId="ADAL" clId="{028FF6F6-5B42-4493-A926-90FAA58B796E}" dt="2025-03-19T23:08:03.754" v="1728" actId="47"/>
        <pc:sldMkLst>
          <pc:docMk/>
          <pc:sldMk cId="2930060632" sldId="2147483394"/>
        </pc:sldMkLst>
      </pc:sldChg>
      <pc:sldChg chg="addSp delSp modSp add mod">
        <pc:chgData name="Munarriz Herrador Iñaki" userId="11637121-8aee-420b-9db7-54651cb06796" providerId="ADAL" clId="{028FF6F6-5B42-4493-A926-90FAA58B796E}" dt="2025-03-20T09:27:43.160" v="3789" actId="1035"/>
        <pc:sldMkLst>
          <pc:docMk/>
          <pc:sldMk cId="2649532606" sldId="2147483395"/>
        </pc:sldMkLst>
      </pc:sldChg>
      <pc:sldChg chg="addSp delSp modSp add del mod">
        <pc:chgData name="Munarriz Herrador Iñaki" userId="11637121-8aee-420b-9db7-54651cb06796" providerId="ADAL" clId="{028FF6F6-5B42-4493-A926-90FAA58B796E}" dt="2025-03-19T23:15:18.249" v="1855" actId="47"/>
        <pc:sldMkLst>
          <pc:docMk/>
          <pc:sldMk cId="40341960" sldId="2147483396"/>
        </pc:sldMkLst>
      </pc:sldChg>
      <pc:sldChg chg="addSp delSp modSp add mod">
        <pc:chgData name="Munarriz Herrador Iñaki" userId="11637121-8aee-420b-9db7-54651cb06796" providerId="ADAL" clId="{028FF6F6-5B42-4493-A926-90FAA58B796E}" dt="2025-03-20T07:59:42.119" v="1947" actId="20577"/>
        <pc:sldMkLst>
          <pc:docMk/>
          <pc:sldMk cId="4055449794" sldId="2147483397"/>
        </pc:sldMkLst>
      </pc:sldChg>
      <pc:sldChg chg="addSp delSp modSp add mod">
        <pc:chgData name="Munarriz Herrador Iñaki" userId="11637121-8aee-420b-9db7-54651cb06796" providerId="ADAL" clId="{028FF6F6-5B42-4493-A926-90FAA58B796E}" dt="2025-03-20T07:59:46.673" v="1950" actId="20577"/>
        <pc:sldMkLst>
          <pc:docMk/>
          <pc:sldMk cId="2877243688" sldId="2147483398"/>
        </pc:sldMkLst>
      </pc:sldChg>
      <pc:sldChg chg="addSp delSp modSp add mod">
        <pc:chgData name="Munarriz Herrador Iñaki" userId="11637121-8aee-420b-9db7-54651cb06796" providerId="ADAL" clId="{028FF6F6-5B42-4493-A926-90FAA58B796E}" dt="2025-03-20T07:59:50.219" v="1953" actId="20577"/>
        <pc:sldMkLst>
          <pc:docMk/>
          <pc:sldMk cId="3820138667" sldId="2147483399"/>
        </pc:sldMkLst>
      </pc:sldChg>
      <pc:sldChg chg="delSp modSp add del mod ord">
        <pc:chgData name="Munarriz Herrador Iñaki" userId="11637121-8aee-420b-9db7-54651cb06796" providerId="ADAL" clId="{028FF6F6-5B42-4493-A926-90FAA58B796E}" dt="2025-03-20T07:57:41.723" v="1869" actId="47"/>
        <pc:sldMkLst>
          <pc:docMk/>
          <pc:sldMk cId="202366616" sldId="2147483400"/>
        </pc:sldMkLst>
      </pc:sldChg>
      <pc:sldChg chg="add del">
        <pc:chgData name="Munarriz Herrador Iñaki" userId="11637121-8aee-420b-9db7-54651cb06796" providerId="ADAL" clId="{028FF6F6-5B42-4493-A926-90FAA58B796E}" dt="2025-03-20T09:03:08.490" v="3293" actId="47"/>
        <pc:sldMkLst>
          <pc:docMk/>
          <pc:sldMk cId="3151205359" sldId="2147483400"/>
        </pc:sldMkLst>
      </pc:sldChg>
      <pc:sldChg chg="add ord">
        <pc:chgData name="Munarriz Herrador Iñaki" userId="11637121-8aee-420b-9db7-54651cb06796" providerId="ADAL" clId="{028FF6F6-5B42-4493-A926-90FAA58B796E}" dt="2025-03-20T14:51:52.641" v="3792"/>
        <pc:sldMkLst>
          <pc:docMk/>
          <pc:sldMk cId="3328959841" sldId="2147483400"/>
        </pc:sldMkLst>
      </pc:sldChg>
    </pc:docChg>
  </pc:docChgLst>
  <pc:docChgLst>
    <pc:chgData name="Munarriz Herrador Iñaki" userId="11637121-8aee-420b-9db7-54651cb06796" providerId="ADAL" clId="{D346BDBC-FFFB-46A0-8E64-975E5FEF44DF}"/>
    <pc:docChg chg="undo redo custSel addSld delSld modSld sldOrd modSection">
      <pc:chgData name="Munarriz Herrador Iñaki" userId="11637121-8aee-420b-9db7-54651cb06796" providerId="ADAL" clId="{D346BDBC-FFFB-46A0-8E64-975E5FEF44DF}" dt="2025-06-17T15:59:51.871" v="2484" actId="1035"/>
      <pc:docMkLst>
        <pc:docMk/>
      </pc:docMkLst>
      <pc:sldChg chg="modSp mod">
        <pc:chgData name="Munarriz Herrador Iñaki" userId="11637121-8aee-420b-9db7-54651cb06796" providerId="ADAL" clId="{D346BDBC-FFFB-46A0-8E64-975E5FEF44DF}" dt="2025-06-15T06:23:16.734" v="31" actId="20577"/>
        <pc:sldMkLst>
          <pc:docMk/>
          <pc:sldMk cId="0" sldId="2147483315"/>
        </pc:sldMkLst>
        <pc:spChg chg="mod">
          <ac:chgData name="Munarriz Herrador Iñaki" userId="11637121-8aee-420b-9db7-54651cb06796" providerId="ADAL" clId="{D346BDBC-FFFB-46A0-8E64-975E5FEF44DF}" dt="2025-06-15T06:23:16.734" v="31" actId="20577"/>
          <ac:spMkLst>
            <pc:docMk/>
            <pc:sldMk cId="0" sldId="2147483315"/>
            <ac:spMk id="6" creationId="{00000000-0000-0000-0000-000000000000}"/>
          </ac:spMkLst>
        </pc:spChg>
        <pc:spChg chg="mod">
          <ac:chgData name="Munarriz Herrador Iñaki" userId="11637121-8aee-420b-9db7-54651cb06796" providerId="ADAL" clId="{D346BDBC-FFFB-46A0-8E64-975E5FEF44DF}" dt="2025-06-15T06:23:04.532" v="21" actId="20577"/>
          <ac:spMkLst>
            <pc:docMk/>
            <pc:sldMk cId="0" sldId="2147483315"/>
            <ac:spMk id="11" creationId="{D2ABA22D-F23D-20AB-0DA8-B06D42BD659D}"/>
          </ac:spMkLst>
        </pc:spChg>
      </pc:sldChg>
      <pc:sldChg chg="modSp mod">
        <pc:chgData name="Munarriz Herrador Iñaki" userId="11637121-8aee-420b-9db7-54651cb06796" providerId="ADAL" clId="{D346BDBC-FFFB-46A0-8E64-975E5FEF44DF}" dt="2025-06-17T11:29:31.957" v="1880" actId="207"/>
        <pc:sldMkLst>
          <pc:docMk/>
          <pc:sldMk cId="88093545" sldId="2147483372"/>
        </pc:sldMkLst>
        <pc:spChg chg="mod">
          <ac:chgData name="Munarriz Herrador Iñaki" userId="11637121-8aee-420b-9db7-54651cb06796" providerId="ADAL" clId="{D346BDBC-FFFB-46A0-8E64-975E5FEF44DF}" dt="2025-06-17T11:29:31.957" v="1880" actId="207"/>
          <ac:spMkLst>
            <pc:docMk/>
            <pc:sldMk cId="88093545" sldId="2147483372"/>
            <ac:spMk id="8" creationId="{B653FEEB-5B1B-5220-1426-D789485673FE}"/>
          </ac:spMkLst>
        </pc:spChg>
      </pc:sldChg>
      <pc:sldChg chg="addSp delSp modSp mod">
        <pc:chgData name="Munarriz Herrador Iñaki" userId="11637121-8aee-420b-9db7-54651cb06796" providerId="ADAL" clId="{D346BDBC-FFFB-46A0-8E64-975E5FEF44DF}" dt="2025-06-16T05:54:11.001" v="1569" actId="20577"/>
        <pc:sldMkLst>
          <pc:docMk/>
          <pc:sldMk cId="1243781170" sldId="2147483373"/>
        </pc:sldMkLst>
        <pc:spChg chg="mod">
          <ac:chgData name="Munarriz Herrador Iñaki" userId="11637121-8aee-420b-9db7-54651cb06796" providerId="ADAL" clId="{D346BDBC-FFFB-46A0-8E64-975E5FEF44DF}" dt="2025-06-16T05:54:11.001" v="1569" actId="20577"/>
          <ac:spMkLst>
            <pc:docMk/>
            <pc:sldMk cId="1243781170" sldId="2147483373"/>
            <ac:spMk id="2" creationId="{0D0F0FBB-CF31-7258-D6B3-FD3CCD13F048}"/>
          </ac:spMkLst>
        </pc:spChg>
        <pc:spChg chg="mod">
          <ac:chgData name="Munarriz Herrador Iñaki" userId="11637121-8aee-420b-9db7-54651cb06796" providerId="ADAL" clId="{D346BDBC-FFFB-46A0-8E64-975E5FEF44DF}" dt="2025-06-15T21:09:41.688" v="398"/>
          <ac:spMkLst>
            <pc:docMk/>
            <pc:sldMk cId="1243781170" sldId="2147483373"/>
            <ac:spMk id="41" creationId="{1D17B2A6-1FC3-8256-10F3-3AFCA2296B20}"/>
          </ac:spMkLst>
        </pc:spChg>
        <pc:spChg chg="mod">
          <ac:chgData name="Munarriz Herrador Iñaki" userId="11637121-8aee-420b-9db7-54651cb06796" providerId="ADAL" clId="{D346BDBC-FFFB-46A0-8E64-975E5FEF44DF}" dt="2025-06-15T21:13:01.589" v="635" actId="20577"/>
          <ac:spMkLst>
            <pc:docMk/>
            <pc:sldMk cId="1243781170" sldId="2147483373"/>
            <ac:spMk id="42" creationId="{9320906B-9399-F7D8-A216-3D8FA59FFFD9}"/>
          </ac:spMkLst>
        </pc:spChg>
        <pc:spChg chg="mod ord">
          <ac:chgData name="Munarriz Herrador Iñaki" userId="11637121-8aee-420b-9db7-54651cb06796" providerId="ADAL" clId="{D346BDBC-FFFB-46A0-8E64-975E5FEF44DF}" dt="2025-06-15T21:12:06.315" v="626" actId="20577"/>
          <ac:spMkLst>
            <pc:docMk/>
            <pc:sldMk cId="1243781170" sldId="2147483373"/>
            <ac:spMk id="44" creationId="{9947456F-95BE-E86D-DF69-B445F45E839E}"/>
          </ac:spMkLst>
        </pc:spChg>
        <pc:spChg chg="mod">
          <ac:chgData name="Munarriz Herrador Iñaki" userId="11637121-8aee-420b-9db7-54651cb06796" providerId="ADAL" clId="{D346BDBC-FFFB-46A0-8E64-975E5FEF44DF}" dt="2025-06-15T21:11:58.775" v="624" actId="14100"/>
          <ac:spMkLst>
            <pc:docMk/>
            <pc:sldMk cId="1243781170" sldId="2147483373"/>
            <ac:spMk id="45" creationId="{F10211DB-E9CE-756B-FFAA-2E035271535F}"/>
          </ac:spMkLst>
        </pc:spChg>
        <pc:spChg chg="mod">
          <ac:chgData name="Munarriz Herrador Iñaki" userId="11637121-8aee-420b-9db7-54651cb06796" providerId="ADAL" clId="{D346BDBC-FFFB-46A0-8E64-975E5FEF44DF}" dt="2025-06-15T21:11:19.771" v="619"/>
          <ac:spMkLst>
            <pc:docMk/>
            <pc:sldMk cId="1243781170" sldId="2147483373"/>
            <ac:spMk id="46" creationId="{2911DFDA-7CBF-CE55-8527-50CF72078341}"/>
          </ac:spMkLst>
        </pc:spChg>
        <pc:grpChg chg="add mod">
          <ac:chgData name="Munarriz Herrador Iñaki" userId="11637121-8aee-420b-9db7-54651cb06796" providerId="ADAL" clId="{D346BDBC-FFFB-46A0-8E64-975E5FEF44DF}" dt="2025-06-15T21:10:32.800" v="613" actId="1037"/>
          <ac:grpSpMkLst>
            <pc:docMk/>
            <pc:sldMk cId="1243781170" sldId="2147483373"/>
            <ac:grpSpMk id="37" creationId="{8976AAF8-1F55-AD82-9D98-6FFA3060D36A}"/>
          </ac:grpSpMkLst>
        </pc:grpChg>
        <pc:grpChg chg="add mod">
          <ac:chgData name="Munarriz Herrador Iñaki" userId="11637121-8aee-420b-9db7-54651cb06796" providerId="ADAL" clId="{D346BDBC-FFFB-46A0-8E64-975E5FEF44DF}" dt="2025-06-15T21:11:36.184" v="621" actId="14100"/>
          <ac:grpSpMkLst>
            <pc:docMk/>
            <pc:sldMk cId="1243781170" sldId="2147483373"/>
            <ac:grpSpMk id="43" creationId="{64ED50A7-AB2A-7F01-F5AB-15829F2C15D0}"/>
          </ac:grpSpMkLst>
        </pc:grpChg>
      </pc:sldChg>
      <pc:sldChg chg="del">
        <pc:chgData name="Munarriz Herrador Iñaki" userId="11637121-8aee-420b-9db7-54651cb06796" providerId="ADAL" clId="{D346BDBC-FFFB-46A0-8E64-975E5FEF44DF}" dt="2025-06-15T22:08:02.973" v="1285" actId="47"/>
        <pc:sldMkLst>
          <pc:docMk/>
          <pc:sldMk cId="2818866366" sldId="2147483379"/>
        </pc:sldMkLst>
      </pc:sldChg>
      <pc:sldChg chg="del">
        <pc:chgData name="Munarriz Herrador Iñaki" userId="11637121-8aee-420b-9db7-54651cb06796" providerId="ADAL" clId="{D346BDBC-FFFB-46A0-8E64-975E5FEF44DF}" dt="2025-06-15T22:08:02.973" v="1285" actId="47"/>
        <pc:sldMkLst>
          <pc:docMk/>
          <pc:sldMk cId="3033939552" sldId="2147483388"/>
        </pc:sldMkLst>
      </pc:sldChg>
      <pc:sldChg chg="del">
        <pc:chgData name="Munarriz Herrador Iñaki" userId="11637121-8aee-420b-9db7-54651cb06796" providerId="ADAL" clId="{D346BDBC-FFFB-46A0-8E64-975E5FEF44DF}" dt="2025-06-15T22:08:02.973" v="1285" actId="47"/>
        <pc:sldMkLst>
          <pc:docMk/>
          <pc:sldMk cId="937404720" sldId="2147483389"/>
        </pc:sldMkLst>
      </pc:sldChg>
      <pc:sldChg chg="del">
        <pc:chgData name="Munarriz Herrador Iñaki" userId="11637121-8aee-420b-9db7-54651cb06796" providerId="ADAL" clId="{D346BDBC-FFFB-46A0-8E64-975E5FEF44DF}" dt="2025-06-15T22:08:02.973" v="1285" actId="47"/>
        <pc:sldMkLst>
          <pc:docMk/>
          <pc:sldMk cId="538967907" sldId="2147483390"/>
        </pc:sldMkLst>
      </pc:sldChg>
      <pc:sldChg chg="del">
        <pc:chgData name="Munarriz Herrador Iñaki" userId="11637121-8aee-420b-9db7-54651cb06796" providerId="ADAL" clId="{D346BDBC-FFFB-46A0-8E64-975E5FEF44DF}" dt="2025-06-15T22:08:02.973" v="1285" actId="47"/>
        <pc:sldMkLst>
          <pc:docMk/>
          <pc:sldMk cId="2900280720" sldId="2147483391"/>
        </pc:sldMkLst>
      </pc:sldChg>
      <pc:sldChg chg="del">
        <pc:chgData name="Munarriz Herrador Iñaki" userId="11637121-8aee-420b-9db7-54651cb06796" providerId="ADAL" clId="{D346BDBC-FFFB-46A0-8E64-975E5FEF44DF}" dt="2025-06-15T22:08:02.973" v="1285" actId="47"/>
        <pc:sldMkLst>
          <pc:docMk/>
          <pc:sldMk cId="2649532606" sldId="2147483395"/>
        </pc:sldMkLst>
      </pc:sldChg>
      <pc:sldChg chg="del">
        <pc:chgData name="Munarriz Herrador Iñaki" userId="11637121-8aee-420b-9db7-54651cb06796" providerId="ADAL" clId="{D346BDBC-FFFB-46A0-8E64-975E5FEF44DF}" dt="2025-06-15T22:08:02.973" v="1285" actId="47"/>
        <pc:sldMkLst>
          <pc:docMk/>
          <pc:sldMk cId="4055449794" sldId="2147483397"/>
        </pc:sldMkLst>
      </pc:sldChg>
      <pc:sldChg chg="del">
        <pc:chgData name="Munarriz Herrador Iñaki" userId="11637121-8aee-420b-9db7-54651cb06796" providerId="ADAL" clId="{D346BDBC-FFFB-46A0-8E64-975E5FEF44DF}" dt="2025-06-15T22:08:02.973" v="1285" actId="47"/>
        <pc:sldMkLst>
          <pc:docMk/>
          <pc:sldMk cId="2877243688" sldId="2147483398"/>
        </pc:sldMkLst>
      </pc:sldChg>
      <pc:sldChg chg="del">
        <pc:chgData name="Munarriz Herrador Iñaki" userId="11637121-8aee-420b-9db7-54651cb06796" providerId="ADAL" clId="{D346BDBC-FFFB-46A0-8E64-975E5FEF44DF}" dt="2025-06-15T22:08:02.973" v="1285" actId="47"/>
        <pc:sldMkLst>
          <pc:docMk/>
          <pc:sldMk cId="3820138667" sldId="2147483399"/>
        </pc:sldMkLst>
      </pc:sldChg>
      <pc:sldChg chg="del">
        <pc:chgData name="Munarriz Herrador Iñaki" userId="11637121-8aee-420b-9db7-54651cb06796" providerId="ADAL" clId="{D346BDBC-FFFB-46A0-8E64-975E5FEF44DF}" dt="2025-06-15T22:08:02.973" v="1285" actId="47"/>
        <pc:sldMkLst>
          <pc:docMk/>
          <pc:sldMk cId="3328959841" sldId="2147483400"/>
        </pc:sldMkLst>
      </pc:sldChg>
      <pc:sldChg chg="addSp delSp modSp add mod">
        <pc:chgData name="Munarriz Herrador Iñaki" userId="11637121-8aee-420b-9db7-54651cb06796" providerId="ADAL" clId="{D346BDBC-FFFB-46A0-8E64-975E5FEF44DF}" dt="2025-06-16T05:54:14.810" v="1571" actId="20577"/>
        <pc:sldMkLst>
          <pc:docMk/>
          <pc:sldMk cId="2085739677" sldId="2147483401"/>
        </pc:sldMkLst>
      </pc:sldChg>
      <pc:sldChg chg="addSp delSp modSp add mod">
        <pc:chgData name="Munarriz Herrador Iñaki" userId="11637121-8aee-420b-9db7-54651cb06796" providerId="ADAL" clId="{D346BDBC-FFFB-46A0-8E64-975E5FEF44DF}" dt="2025-06-16T05:54:18.735" v="1573" actId="20577"/>
        <pc:sldMkLst>
          <pc:docMk/>
          <pc:sldMk cId="2425737149" sldId="2147483402"/>
        </pc:sldMkLst>
      </pc:sldChg>
      <pc:sldChg chg="addSp delSp modSp add mod">
        <pc:chgData name="Munarriz Herrador Iñaki" userId="11637121-8aee-420b-9db7-54651cb06796" providerId="ADAL" clId="{D346BDBC-FFFB-46A0-8E64-975E5FEF44DF}" dt="2025-06-16T05:54:23.361" v="1575" actId="20577"/>
        <pc:sldMkLst>
          <pc:docMk/>
          <pc:sldMk cId="2876304681" sldId="2147483403"/>
        </pc:sldMkLst>
      </pc:sldChg>
      <pc:sldChg chg="addSp delSp modSp add mod">
        <pc:chgData name="Munarriz Herrador Iñaki" userId="11637121-8aee-420b-9db7-54651cb06796" providerId="ADAL" clId="{D346BDBC-FFFB-46A0-8E64-975E5FEF44DF}" dt="2025-06-16T05:54:27.640" v="1577" actId="20577"/>
        <pc:sldMkLst>
          <pc:docMk/>
          <pc:sldMk cId="1567361310" sldId="2147483404"/>
        </pc:sldMkLst>
      </pc:sldChg>
      <pc:sldChg chg="addSp delSp modSp add mod">
        <pc:chgData name="Munarriz Herrador Iñaki" userId="11637121-8aee-420b-9db7-54651cb06796" providerId="ADAL" clId="{D346BDBC-FFFB-46A0-8E64-975E5FEF44DF}" dt="2025-06-16T05:54:35.051" v="1579" actId="20577"/>
        <pc:sldMkLst>
          <pc:docMk/>
          <pc:sldMk cId="559595493" sldId="2147483405"/>
        </pc:sldMkLst>
      </pc:sldChg>
      <pc:sldChg chg="addSp delSp modSp add mod">
        <pc:chgData name="Munarriz Herrador Iñaki" userId="11637121-8aee-420b-9db7-54651cb06796" providerId="ADAL" clId="{D346BDBC-FFFB-46A0-8E64-975E5FEF44DF}" dt="2025-06-16T05:54:39.633" v="1581" actId="20577"/>
        <pc:sldMkLst>
          <pc:docMk/>
          <pc:sldMk cId="1724892760" sldId="2147483406"/>
        </pc:sldMkLst>
      </pc:sldChg>
      <pc:sldChg chg="addSp delSp modSp add mod">
        <pc:chgData name="Munarriz Herrador Iñaki" userId="11637121-8aee-420b-9db7-54651cb06796" providerId="ADAL" clId="{D346BDBC-FFFB-46A0-8E64-975E5FEF44DF}" dt="2025-06-16T05:54:43.468" v="1583" actId="20577"/>
        <pc:sldMkLst>
          <pc:docMk/>
          <pc:sldMk cId="3545608862" sldId="2147483407"/>
        </pc:sldMkLst>
      </pc:sldChg>
      <pc:sldChg chg="addSp delSp modSp add mod">
        <pc:chgData name="Munarriz Herrador Iñaki" userId="11637121-8aee-420b-9db7-54651cb06796" providerId="ADAL" clId="{D346BDBC-FFFB-46A0-8E64-975E5FEF44DF}" dt="2025-06-16T05:54:47.921" v="1585" actId="20577"/>
        <pc:sldMkLst>
          <pc:docMk/>
          <pc:sldMk cId="624714175" sldId="2147483408"/>
        </pc:sldMkLst>
      </pc:sldChg>
      <pc:sldChg chg="addSp delSp modSp add mod ord">
        <pc:chgData name="Munarriz Herrador Iñaki" userId="11637121-8aee-420b-9db7-54651cb06796" providerId="ADAL" clId="{D346BDBC-FFFB-46A0-8E64-975E5FEF44DF}" dt="2025-06-17T11:28:15.589" v="1848" actId="20577"/>
        <pc:sldMkLst>
          <pc:docMk/>
          <pc:sldMk cId="2428685999" sldId="2147483409"/>
        </pc:sldMkLst>
      </pc:sldChg>
      <pc:sldChg chg="addSp delSp modSp add mod">
        <pc:chgData name="Munarriz Herrador Iñaki" userId="11637121-8aee-420b-9db7-54651cb06796" providerId="ADAL" clId="{D346BDBC-FFFB-46A0-8E64-975E5FEF44DF}" dt="2025-06-16T05:54:52.018" v="1587" actId="20577"/>
        <pc:sldMkLst>
          <pc:docMk/>
          <pc:sldMk cId="792640642" sldId="2147483410"/>
        </pc:sldMkLst>
      </pc:sldChg>
      <pc:sldChg chg="modSp add del mod">
        <pc:chgData name="Munarriz Herrador Iñaki" userId="11637121-8aee-420b-9db7-54651cb06796" providerId="ADAL" clId="{D346BDBC-FFFB-46A0-8E64-975E5FEF44DF}" dt="2025-06-15T22:41:15.340" v="1547" actId="47"/>
        <pc:sldMkLst>
          <pc:docMk/>
          <pc:sldMk cId="3135902622" sldId="2147483411"/>
        </pc:sldMkLst>
      </pc:sldChg>
      <pc:sldChg chg="addSp modSp add mod">
        <pc:chgData name="Munarriz Herrador Iñaki" userId="11637121-8aee-420b-9db7-54651cb06796" providerId="ADAL" clId="{D346BDBC-FFFB-46A0-8E64-975E5FEF44DF}" dt="2025-06-16T14:49:20.895" v="1756" actId="20577"/>
        <pc:sldMkLst>
          <pc:docMk/>
          <pc:sldMk cId="2680299840" sldId="2147483412"/>
        </pc:sldMkLst>
      </pc:sldChg>
      <pc:sldChg chg="modSp add del mod">
        <pc:chgData name="Munarriz Herrador Iñaki" userId="11637121-8aee-420b-9db7-54651cb06796" providerId="ADAL" clId="{D346BDBC-FFFB-46A0-8E64-975E5FEF44DF}" dt="2025-06-15T22:36:06.170" v="1533" actId="47"/>
        <pc:sldMkLst>
          <pc:docMk/>
          <pc:sldMk cId="774817878" sldId="2147483413"/>
        </pc:sldMkLst>
      </pc:sldChg>
      <pc:sldChg chg="addSp modSp add mod">
        <pc:chgData name="Munarriz Herrador Iñaki" userId="11637121-8aee-420b-9db7-54651cb06796" providerId="ADAL" clId="{D346BDBC-FFFB-46A0-8E64-975E5FEF44DF}" dt="2025-06-16T05:55:02.034" v="1591" actId="20577"/>
        <pc:sldMkLst>
          <pc:docMk/>
          <pc:sldMk cId="1307132154" sldId="2147483414"/>
        </pc:sldMkLst>
      </pc:sldChg>
      <pc:sldChg chg="delSp modSp add mod">
        <pc:chgData name="Munarriz Herrador Iñaki" userId="11637121-8aee-420b-9db7-54651cb06796" providerId="ADAL" clId="{D346BDBC-FFFB-46A0-8E64-975E5FEF44DF}" dt="2025-06-17T11:28:46.888" v="1865" actId="20577"/>
        <pc:sldMkLst>
          <pc:docMk/>
          <pc:sldMk cId="17658299" sldId="2147483415"/>
        </pc:sldMkLst>
      </pc:sldChg>
      <pc:sldChg chg="addSp delSp modSp add mod">
        <pc:chgData name="Munarriz Herrador Iñaki" userId="11637121-8aee-420b-9db7-54651cb06796" providerId="ADAL" clId="{D346BDBC-FFFB-46A0-8E64-975E5FEF44DF}" dt="2025-06-17T15:59:30.453" v="2425" actId="1036"/>
        <pc:sldMkLst>
          <pc:docMk/>
          <pc:sldMk cId="2523228152" sldId="2147483416"/>
        </pc:sldMkLst>
      </pc:sldChg>
      <pc:sldChg chg="addSp delSp modSp add mod">
        <pc:chgData name="Munarriz Herrador Iñaki" userId="11637121-8aee-420b-9db7-54651cb06796" providerId="ADAL" clId="{D346BDBC-FFFB-46A0-8E64-975E5FEF44DF}" dt="2025-06-17T15:59:51.871" v="2484" actId="1035"/>
        <pc:sldMkLst>
          <pc:docMk/>
          <pc:sldMk cId="3043515397" sldId="2147483417"/>
        </pc:sldMkLst>
      </pc:sldChg>
    </pc:docChg>
  </pc:docChgLst>
  <pc:docChgLst>
    <pc:chgData name="Munarriz Herrador Iñaki" userId="11637121-8aee-420b-9db7-54651cb06796" providerId="ADAL" clId="{3350B887-55C5-4C6D-9AD1-3AB555665C94}"/>
    <pc:docChg chg="custSel addSld modSld modSection">
      <pc:chgData name="Munarriz Herrador Iñaki" userId="11637121-8aee-420b-9db7-54651cb06796" providerId="ADAL" clId="{3350B887-55C5-4C6D-9AD1-3AB555665C94}" dt="2025-02-17T16:15:04.320" v="46" actId="14100"/>
      <pc:docMkLst>
        <pc:docMk/>
      </pc:docMkLst>
      <pc:sldChg chg="modSp mod">
        <pc:chgData name="Munarriz Herrador Iñaki" userId="11637121-8aee-420b-9db7-54651cb06796" providerId="ADAL" clId="{3350B887-55C5-4C6D-9AD1-3AB555665C94}" dt="2025-02-17T12:01:58.688" v="39" actId="20577"/>
        <pc:sldMkLst>
          <pc:docMk/>
          <pc:sldMk cId="0" sldId="2147483315"/>
        </pc:sldMkLst>
      </pc:sldChg>
      <pc:sldChg chg="addSp delSp modSp add mod">
        <pc:chgData name="Munarriz Herrador Iñaki" userId="11637121-8aee-420b-9db7-54651cb06796" providerId="ADAL" clId="{3350B887-55C5-4C6D-9AD1-3AB555665C94}" dt="2025-02-17T16:15:04.320" v="46" actId="14100"/>
        <pc:sldMkLst>
          <pc:docMk/>
          <pc:sldMk cId="3033939552" sldId="2147483388"/>
        </pc:sldMkLst>
      </pc:sldChg>
    </pc:docChg>
  </pc:docChgLst>
  <pc:docChgLst>
    <pc:chgData name="Munarriz Herrador Iñaki" userId="11637121-8aee-420b-9db7-54651cb06796" providerId="ADAL" clId="{00D70542-70E1-4C27-9556-C3FD05DC72C1}"/>
    <pc:docChg chg="undo redo custSel addSld delSld modSld sldOrd modSection">
      <pc:chgData name="Munarriz Herrador Iñaki" userId="11637121-8aee-420b-9db7-54651cb06796" providerId="ADAL" clId="{00D70542-70E1-4C27-9556-C3FD05DC72C1}" dt="2025-09-08T16:28:25.365" v="2274" actId="113"/>
      <pc:docMkLst>
        <pc:docMk/>
      </pc:docMkLst>
      <pc:sldChg chg="modSp mod">
        <pc:chgData name="Munarriz Herrador Iñaki" userId="11637121-8aee-420b-9db7-54651cb06796" providerId="ADAL" clId="{00D70542-70E1-4C27-9556-C3FD05DC72C1}" dt="2025-09-05T09:40:28.623" v="1627" actId="790"/>
        <pc:sldMkLst>
          <pc:docMk/>
          <pc:sldMk cId="0" sldId="2147483315"/>
        </pc:sldMkLst>
        <pc:spChg chg="mod">
          <ac:chgData name="Munarriz Herrador Iñaki" userId="11637121-8aee-420b-9db7-54651cb06796" providerId="ADAL" clId="{00D70542-70E1-4C27-9556-C3FD05DC72C1}" dt="2025-09-05T09:40:28.623" v="1627" actId="790"/>
          <ac:spMkLst>
            <pc:docMk/>
            <pc:sldMk cId="0" sldId="2147483315"/>
            <ac:spMk id="6" creationId="{00000000-0000-0000-0000-000000000000}"/>
          </ac:spMkLst>
        </pc:spChg>
      </pc:sldChg>
      <pc:sldChg chg="modSp mod">
        <pc:chgData name="Munarriz Herrador Iñaki" userId="11637121-8aee-420b-9db7-54651cb06796" providerId="ADAL" clId="{00D70542-70E1-4C27-9556-C3FD05DC72C1}" dt="2025-09-08T16:05:14.093" v="2122" actId="20577"/>
        <pc:sldMkLst>
          <pc:docMk/>
          <pc:sldMk cId="88093545" sldId="2147483372"/>
        </pc:sldMkLst>
        <pc:spChg chg="mod">
          <ac:chgData name="Munarriz Herrador Iñaki" userId="11637121-8aee-420b-9db7-54651cb06796" providerId="ADAL" clId="{00D70542-70E1-4C27-9556-C3FD05DC72C1}" dt="2025-09-08T16:05:14.093" v="2122" actId="20577"/>
          <ac:spMkLst>
            <pc:docMk/>
            <pc:sldMk cId="88093545" sldId="2147483372"/>
            <ac:spMk id="8" creationId="{B653FEEB-5B1B-5220-1426-D789485673FE}"/>
          </ac:spMkLst>
        </pc:spChg>
      </pc:sldChg>
      <pc:sldChg chg="addSp delSp modSp mod">
        <pc:chgData name="Munarriz Herrador Iñaki" userId="11637121-8aee-420b-9db7-54651cb06796" providerId="ADAL" clId="{00D70542-70E1-4C27-9556-C3FD05DC72C1}" dt="2025-09-05T09:29:29.586" v="1237" actId="1036"/>
        <pc:sldMkLst>
          <pc:docMk/>
          <pc:sldMk cId="1243781170" sldId="2147483373"/>
        </pc:sldMkLst>
        <pc:spChg chg="mod">
          <ac:chgData name="Munarriz Herrador Iñaki" userId="11637121-8aee-420b-9db7-54651cb06796" providerId="ADAL" clId="{00D70542-70E1-4C27-9556-C3FD05DC72C1}" dt="2025-09-05T09:20:26.735" v="1076" actId="20577"/>
          <ac:spMkLst>
            <pc:docMk/>
            <pc:sldMk cId="1243781170" sldId="2147483373"/>
            <ac:spMk id="2" creationId="{0D0F0FBB-CF31-7258-D6B3-FD3CCD13F048}"/>
          </ac:spMkLst>
        </pc:spChg>
        <pc:spChg chg="mod">
          <ac:chgData name="Munarriz Herrador Iñaki" userId="11637121-8aee-420b-9db7-54651cb06796" providerId="ADAL" clId="{00D70542-70E1-4C27-9556-C3FD05DC72C1}" dt="2025-09-05T09:29:29.586" v="1237" actId="1036"/>
          <ac:spMkLst>
            <pc:docMk/>
            <pc:sldMk cId="1243781170" sldId="2147483373"/>
            <ac:spMk id="6" creationId="{8BEF89A0-9B50-124A-6F46-17A2C809E6F0}"/>
          </ac:spMkLst>
        </pc:spChg>
        <pc:spChg chg="add mod">
          <ac:chgData name="Munarriz Herrador Iñaki" userId="11637121-8aee-420b-9db7-54651cb06796" providerId="ADAL" clId="{00D70542-70E1-4C27-9556-C3FD05DC72C1}" dt="2025-09-05T09:24:08.718" v="1222" actId="1036"/>
          <ac:spMkLst>
            <pc:docMk/>
            <pc:sldMk cId="1243781170" sldId="2147483373"/>
            <ac:spMk id="8" creationId="{0FD7C25C-1705-4E4C-E3F8-8837219ACAE5}"/>
          </ac:spMkLst>
        </pc:spChg>
        <pc:spChg chg="add mod">
          <ac:chgData name="Munarriz Herrador Iñaki" userId="11637121-8aee-420b-9db7-54651cb06796" providerId="ADAL" clId="{00D70542-70E1-4C27-9556-C3FD05DC72C1}" dt="2025-09-05T09:23:58.184" v="1203" actId="164"/>
          <ac:spMkLst>
            <pc:docMk/>
            <pc:sldMk cId="1243781170" sldId="2147483373"/>
            <ac:spMk id="10" creationId="{ECAC9342-5725-29A8-498E-3A9E50BFCCBC}"/>
          </ac:spMkLst>
        </pc:spChg>
        <pc:spChg chg="add del mod">
          <ac:chgData name="Munarriz Herrador Iñaki" userId="11637121-8aee-420b-9db7-54651cb06796" providerId="ADAL" clId="{00D70542-70E1-4C27-9556-C3FD05DC72C1}" dt="2025-09-05T09:23:34.387" v="1192" actId="1036"/>
          <ac:spMkLst>
            <pc:docMk/>
            <pc:sldMk cId="1243781170" sldId="2147483373"/>
            <ac:spMk id="39" creationId="{CC4DDFF4-761D-995B-6DF0-1E7532E18886}"/>
          </ac:spMkLst>
        </pc:spChg>
        <pc:spChg chg="mod">
          <ac:chgData name="Munarriz Herrador Iñaki" userId="11637121-8aee-420b-9db7-54651cb06796" providerId="ADAL" clId="{00D70542-70E1-4C27-9556-C3FD05DC72C1}" dt="2025-09-05T09:23:48.363" v="1201" actId="14100"/>
          <ac:spMkLst>
            <pc:docMk/>
            <pc:sldMk cId="1243781170" sldId="2147483373"/>
            <ac:spMk id="41" creationId="{1D17B2A6-1FC3-8256-10F3-3AFCA2296B20}"/>
          </ac:spMkLst>
        </pc:spChg>
        <pc:spChg chg="mod">
          <ac:chgData name="Munarriz Herrador Iñaki" userId="11637121-8aee-420b-9db7-54651cb06796" providerId="ADAL" clId="{00D70542-70E1-4C27-9556-C3FD05DC72C1}" dt="2025-09-05T08:42:52.884" v="966" actId="20577"/>
          <ac:spMkLst>
            <pc:docMk/>
            <pc:sldMk cId="1243781170" sldId="2147483373"/>
            <ac:spMk id="42" creationId="{9320906B-9399-F7D8-A216-3D8FA59FFFD9}"/>
          </ac:spMkLst>
        </pc:spChg>
        <pc:spChg chg="mod">
          <ac:chgData name="Munarriz Herrador Iñaki" userId="11637121-8aee-420b-9db7-54651cb06796" providerId="ADAL" clId="{00D70542-70E1-4C27-9556-C3FD05DC72C1}" dt="2025-09-05T09:24:14.136" v="1224" actId="20577"/>
          <ac:spMkLst>
            <pc:docMk/>
            <pc:sldMk cId="1243781170" sldId="2147483373"/>
            <ac:spMk id="44" creationId="{9947456F-95BE-E86D-DF69-B445F45E839E}"/>
          </ac:spMkLst>
        </pc:spChg>
        <pc:spChg chg="mod">
          <ac:chgData name="Munarriz Herrador Iñaki" userId="11637121-8aee-420b-9db7-54651cb06796" providerId="ADAL" clId="{00D70542-70E1-4C27-9556-C3FD05DC72C1}" dt="2025-09-05T09:22:13.509" v="1120"/>
          <ac:spMkLst>
            <pc:docMk/>
            <pc:sldMk cId="1243781170" sldId="2147483373"/>
            <ac:spMk id="45" creationId="{F10211DB-E9CE-756B-FFAA-2E035271535F}"/>
          </ac:spMkLst>
        </pc:spChg>
        <pc:spChg chg="mod">
          <ac:chgData name="Munarriz Herrador Iñaki" userId="11637121-8aee-420b-9db7-54651cb06796" providerId="ADAL" clId="{00D70542-70E1-4C27-9556-C3FD05DC72C1}" dt="2025-09-05T09:17:39.670" v="1048"/>
          <ac:spMkLst>
            <pc:docMk/>
            <pc:sldMk cId="1243781170" sldId="2147483373"/>
            <ac:spMk id="46" creationId="{2911DFDA-7CBF-CE55-8527-50CF72078341}"/>
          </ac:spMkLst>
        </pc:spChg>
        <pc:grpChg chg="add mod">
          <ac:chgData name="Munarriz Herrador Iñaki" userId="11637121-8aee-420b-9db7-54651cb06796" providerId="ADAL" clId="{00D70542-70E1-4C27-9556-C3FD05DC72C1}" dt="2025-09-05T09:23:58.184" v="1203" actId="164"/>
          <ac:grpSpMkLst>
            <pc:docMk/>
            <pc:sldMk cId="1243781170" sldId="2147483373"/>
            <ac:grpSpMk id="12" creationId="{60E86C17-389A-FDA9-3808-8123E13D6D85}"/>
          </ac:grpSpMkLst>
        </pc:grpChg>
        <pc:grpChg chg="mod">
          <ac:chgData name="Munarriz Herrador Iñaki" userId="11637121-8aee-420b-9db7-54651cb06796" providerId="ADAL" clId="{00D70542-70E1-4C27-9556-C3FD05DC72C1}" dt="2025-09-05T09:23:58.184" v="1203" actId="164"/>
          <ac:grpSpMkLst>
            <pc:docMk/>
            <pc:sldMk cId="1243781170" sldId="2147483373"/>
            <ac:grpSpMk id="37" creationId="{8976AAF8-1F55-AD82-9D98-6FFA3060D36A}"/>
          </ac:grpSpMkLst>
        </pc:grpChg>
        <pc:grpChg chg="mod">
          <ac:chgData name="Munarriz Herrador Iñaki" userId="11637121-8aee-420b-9db7-54651cb06796" providerId="ADAL" clId="{00D70542-70E1-4C27-9556-C3FD05DC72C1}" dt="2025-09-05T09:23:50.920" v="1202" actId="14100"/>
          <ac:grpSpMkLst>
            <pc:docMk/>
            <pc:sldMk cId="1243781170" sldId="2147483373"/>
            <ac:grpSpMk id="43" creationId="{64ED50A7-AB2A-7F01-F5AB-15829F2C15D0}"/>
          </ac:grpSpMkLst>
        </pc:grpChg>
      </pc:sldChg>
      <pc:sldChg chg="del">
        <pc:chgData name="Munarriz Herrador Iñaki" userId="11637121-8aee-420b-9db7-54651cb06796" providerId="ADAL" clId="{00D70542-70E1-4C27-9556-C3FD05DC72C1}" dt="2025-09-04T16:17:13.950" v="585" actId="47"/>
        <pc:sldMkLst>
          <pc:docMk/>
          <pc:sldMk cId="2085739677" sldId="2147483401"/>
        </pc:sldMkLst>
      </pc:sldChg>
      <pc:sldChg chg="addSp delSp modSp add del mod">
        <pc:chgData name="Munarriz Herrador Iñaki" userId="11637121-8aee-420b-9db7-54651cb06796" providerId="ADAL" clId="{00D70542-70E1-4C27-9556-C3FD05DC72C1}" dt="2025-09-08T14:20:35.790" v="1925" actId="164"/>
        <pc:sldMkLst>
          <pc:docMk/>
          <pc:sldMk cId="2428685999" sldId="2147483409"/>
        </pc:sldMkLst>
        <pc:spChg chg="add del mod">
          <ac:chgData name="Munarriz Herrador Iñaki" userId="11637121-8aee-420b-9db7-54651cb06796" providerId="ADAL" clId="{00D70542-70E1-4C27-9556-C3FD05DC72C1}" dt="2025-09-08T14:15:37.703" v="1779" actId="478"/>
          <ac:spMkLst>
            <pc:docMk/>
            <pc:sldMk cId="2428685999" sldId="2147483409"/>
            <ac:spMk id="11" creationId="{6D60D570-03F3-D834-C6B7-F1136455FA5D}"/>
          </ac:spMkLst>
        </pc:spChg>
        <pc:spChg chg="add del mod">
          <ac:chgData name="Munarriz Herrador Iñaki" userId="11637121-8aee-420b-9db7-54651cb06796" providerId="ADAL" clId="{00D70542-70E1-4C27-9556-C3FD05DC72C1}" dt="2025-09-08T14:15:37.703" v="1779" actId="478"/>
          <ac:spMkLst>
            <pc:docMk/>
            <pc:sldMk cId="2428685999" sldId="2147483409"/>
            <ac:spMk id="12" creationId="{684ED104-E7A9-0540-1711-5828435630D9}"/>
          </ac:spMkLst>
        </pc:spChg>
        <pc:spChg chg="add mod">
          <ac:chgData name="Munarriz Herrador Iñaki" userId="11637121-8aee-420b-9db7-54651cb06796" providerId="ADAL" clId="{00D70542-70E1-4C27-9556-C3FD05DC72C1}" dt="2025-09-08T14:20:35.790" v="1925" actId="164"/>
          <ac:spMkLst>
            <pc:docMk/>
            <pc:sldMk cId="2428685999" sldId="2147483409"/>
            <ac:spMk id="13" creationId="{D0CFDC5D-5D54-9ECE-856C-6EEA1CC0216D}"/>
          </ac:spMkLst>
        </pc:spChg>
        <pc:grpChg chg="add mod">
          <ac:chgData name="Munarriz Herrador Iñaki" userId="11637121-8aee-420b-9db7-54651cb06796" providerId="ADAL" clId="{00D70542-70E1-4C27-9556-C3FD05DC72C1}" dt="2025-09-08T14:20:35.790" v="1925" actId="164"/>
          <ac:grpSpMkLst>
            <pc:docMk/>
            <pc:sldMk cId="2428685999" sldId="2147483409"/>
            <ac:grpSpMk id="14" creationId="{A6CAA83E-35C9-BAF5-AA50-DBD7863FC1BD}"/>
          </ac:grpSpMkLst>
        </pc:grpChg>
        <pc:picChg chg="add mod modCrop">
          <ac:chgData name="Munarriz Herrador Iñaki" userId="11637121-8aee-420b-9db7-54651cb06796" providerId="ADAL" clId="{00D70542-70E1-4C27-9556-C3FD05DC72C1}" dt="2025-09-08T14:20:22.686" v="1921" actId="732"/>
          <ac:picMkLst>
            <pc:docMk/>
            <pc:sldMk cId="2428685999" sldId="2147483409"/>
            <ac:picMk id="4" creationId="{74D4CBA3-C19A-6895-4926-E6F6F9CEEA2B}"/>
          </ac:picMkLst>
        </pc:picChg>
        <pc:picChg chg="add mod modCrop">
          <ac:chgData name="Munarriz Herrador Iñaki" userId="11637121-8aee-420b-9db7-54651cb06796" providerId="ADAL" clId="{00D70542-70E1-4C27-9556-C3FD05DC72C1}" dt="2025-09-08T14:20:17.718" v="1920" actId="732"/>
          <ac:picMkLst>
            <pc:docMk/>
            <pc:sldMk cId="2428685999" sldId="2147483409"/>
            <ac:picMk id="6" creationId="{AB690722-E132-F5D4-4636-B32D2DAF3FAD}"/>
          </ac:picMkLst>
        </pc:picChg>
        <pc:picChg chg="add mod">
          <ac:chgData name="Munarriz Herrador Iñaki" userId="11637121-8aee-420b-9db7-54651cb06796" providerId="ADAL" clId="{00D70542-70E1-4C27-9556-C3FD05DC72C1}" dt="2025-09-08T14:20:35.790" v="1925" actId="164"/>
          <ac:picMkLst>
            <pc:docMk/>
            <pc:sldMk cId="2428685999" sldId="2147483409"/>
            <ac:picMk id="8" creationId="{328DACEB-DB0E-7BA6-EF2A-7F02D9CC4429}"/>
          </ac:picMkLst>
        </pc:picChg>
        <pc:picChg chg="add del mod">
          <ac:chgData name="Munarriz Herrador Iñaki" userId="11637121-8aee-420b-9db7-54651cb06796" providerId="ADAL" clId="{00D70542-70E1-4C27-9556-C3FD05DC72C1}" dt="2025-09-08T14:15:12.479" v="1731" actId="478"/>
          <ac:picMkLst>
            <pc:docMk/>
            <pc:sldMk cId="2428685999" sldId="2147483409"/>
            <ac:picMk id="10" creationId="{A6249F73-5DF1-1ED6-771D-AEA2BC20C303}"/>
          </ac:picMkLst>
        </pc:picChg>
      </pc:sldChg>
      <pc:sldChg chg="delSp modSp add del mod">
        <pc:chgData name="Munarriz Herrador Iñaki" userId="11637121-8aee-420b-9db7-54651cb06796" providerId="ADAL" clId="{00D70542-70E1-4C27-9556-C3FD05DC72C1}" dt="2025-09-08T14:24:31.233" v="1971" actId="6549"/>
        <pc:sldMkLst>
          <pc:docMk/>
          <pc:sldMk cId="17658299" sldId="2147483415"/>
        </pc:sldMkLst>
        <pc:spChg chg="del mod">
          <ac:chgData name="Munarriz Herrador Iñaki" userId="11637121-8aee-420b-9db7-54651cb06796" providerId="ADAL" clId="{00D70542-70E1-4C27-9556-C3FD05DC72C1}" dt="2025-09-08T14:19:13.201" v="1845" actId="478"/>
          <ac:spMkLst>
            <pc:docMk/>
            <pc:sldMk cId="17658299" sldId="2147483415"/>
            <ac:spMk id="11" creationId="{591ACA2D-8232-6019-E1A7-60ADA8C1080E}"/>
          </ac:spMkLst>
        </pc:spChg>
        <pc:spChg chg="del mod">
          <ac:chgData name="Munarriz Herrador Iñaki" userId="11637121-8aee-420b-9db7-54651cb06796" providerId="ADAL" clId="{00D70542-70E1-4C27-9556-C3FD05DC72C1}" dt="2025-09-08T14:19:13.201" v="1845" actId="478"/>
          <ac:spMkLst>
            <pc:docMk/>
            <pc:sldMk cId="17658299" sldId="2147483415"/>
            <ac:spMk id="12" creationId="{93E60E6D-EA43-22FE-9D59-AA5BB2803CBF}"/>
          </ac:spMkLst>
        </pc:spChg>
        <pc:spChg chg="mod">
          <ac:chgData name="Munarriz Herrador Iñaki" userId="11637121-8aee-420b-9db7-54651cb06796" providerId="ADAL" clId="{00D70542-70E1-4C27-9556-C3FD05DC72C1}" dt="2025-09-08T14:24:31.233" v="1971" actId="6549"/>
          <ac:spMkLst>
            <pc:docMk/>
            <pc:sldMk cId="17658299" sldId="2147483415"/>
            <ac:spMk id="14" creationId="{B465FE55-FE87-88F2-6FBC-96F1929EF897}"/>
          </ac:spMkLst>
        </pc:spChg>
      </pc:sldChg>
      <pc:sldChg chg="addSp modSp add del mod">
        <pc:chgData name="Munarriz Herrador Iñaki" userId="11637121-8aee-420b-9db7-54651cb06796" providerId="ADAL" clId="{00D70542-70E1-4C27-9556-C3FD05DC72C1}" dt="2025-09-08T16:27:18.489" v="2271" actId="20577"/>
        <pc:sldMkLst>
          <pc:docMk/>
          <pc:sldMk cId="2523228152" sldId="2147483416"/>
        </pc:sldMkLst>
        <pc:spChg chg="add">
          <ac:chgData name="Munarriz Herrador Iñaki" userId="11637121-8aee-420b-9db7-54651cb06796" providerId="ADAL" clId="{00D70542-70E1-4C27-9556-C3FD05DC72C1}" dt="2025-09-08T16:19:32.381" v="2126"/>
          <ac:spMkLst>
            <pc:docMk/>
            <pc:sldMk cId="2523228152" sldId="2147483416"/>
            <ac:spMk id="3" creationId="{F1D3524A-7E9F-C20D-BC86-302EBA67914B}"/>
          </ac:spMkLst>
        </pc:spChg>
        <pc:spChg chg="add">
          <ac:chgData name="Munarriz Herrador Iñaki" userId="11637121-8aee-420b-9db7-54651cb06796" providerId="ADAL" clId="{00D70542-70E1-4C27-9556-C3FD05DC72C1}" dt="2025-09-08T16:19:32.381" v="2126"/>
          <ac:spMkLst>
            <pc:docMk/>
            <pc:sldMk cId="2523228152" sldId="2147483416"/>
            <ac:spMk id="4" creationId="{2C533B06-6139-6F4B-E7C4-1FD70191D5FA}"/>
          </ac:spMkLst>
        </pc:spChg>
        <pc:spChg chg="add">
          <ac:chgData name="Munarriz Herrador Iñaki" userId="11637121-8aee-420b-9db7-54651cb06796" providerId="ADAL" clId="{00D70542-70E1-4C27-9556-C3FD05DC72C1}" dt="2025-09-08T16:19:32.381" v="2126"/>
          <ac:spMkLst>
            <pc:docMk/>
            <pc:sldMk cId="2523228152" sldId="2147483416"/>
            <ac:spMk id="5" creationId="{DA020C04-1F67-8E82-F733-3DBF1C2F9C2A}"/>
          </ac:spMkLst>
        </pc:spChg>
        <pc:spChg chg="mod">
          <ac:chgData name="Munarriz Herrador Iñaki" userId="11637121-8aee-420b-9db7-54651cb06796" providerId="ADAL" clId="{00D70542-70E1-4C27-9556-C3FD05DC72C1}" dt="2025-09-08T16:27:18.489" v="2271" actId="20577"/>
          <ac:spMkLst>
            <pc:docMk/>
            <pc:sldMk cId="2523228152" sldId="2147483416"/>
            <ac:spMk id="6" creationId="{280A4E55-B5B6-7FBE-ABE3-03B386534805}"/>
          </ac:spMkLst>
        </pc:spChg>
        <pc:spChg chg="add">
          <ac:chgData name="Munarriz Herrador Iñaki" userId="11637121-8aee-420b-9db7-54651cb06796" providerId="ADAL" clId="{00D70542-70E1-4C27-9556-C3FD05DC72C1}" dt="2025-09-08T16:19:32.381" v="2126"/>
          <ac:spMkLst>
            <pc:docMk/>
            <pc:sldMk cId="2523228152" sldId="2147483416"/>
            <ac:spMk id="7" creationId="{85BED106-7518-D2A0-79A4-A901D0B6006F}"/>
          </ac:spMkLst>
        </pc:spChg>
        <pc:spChg chg="add">
          <ac:chgData name="Munarriz Herrador Iñaki" userId="11637121-8aee-420b-9db7-54651cb06796" providerId="ADAL" clId="{00D70542-70E1-4C27-9556-C3FD05DC72C1}" dt="2025-09-08T16:19:32.381" v="2126"/>
          <ac:spMkLst>
            <pc:docMk/>
            <pc:sldMk cId="2523228152" sldId="2147483416"/>
            <ac:spMk id="8" creationId="{12B79722-FEFB-794B-1A4A-7C3FD694DFBB}"/>
          </ac:spMkLst>
        </pc:spChg>
      </pc:sldChg>
      <pc:sldChg chg="add del">
        <pc:chgData name="Munarriz Herrador Iñaki" userId="11637121-8aee-420b-9db7-54651cb06796" providerId="ADAL" clId="{00D70542-70E1-4C27-9556-C3FD05DC72C1}" dt="2025-09-08T16:27:35.482" v="2273" actId="47"/>
        <pc:sldMkLst>
          <pc:docMk/>
          <pc:sldMk cId="3043515397" sldId="2147483417"/>
        </pc:sldMkLst>
      </pc:sldChg>
      <pc:sldChg chg="addSp delSp modSp mod ord">
        <pc:chgData name="Munarriz Herrador Iñaki" userId="11637121-8aee-420b-9db7-54651cb06796" providerId="ADAL" clId="{00D70542-70E1-4C27-9556-C3FD05DC72C1}" dt="2025-09-08T14:22:31.001" v="1960" actId="20577"/>
        <pc:sldMkLst>
          <pc:docMk/>
          <pc:sldMk cId="2941204618" sldId="2147483419"/>
        </pc:sldMkLst>
        <pc:spChg chg="mod">
          <ac:chgData name="Munarriz Herrador Iñaki" userId="11637121-8aee-420b-9db7-54651cb06796" providerId="ADAL" clId="{00D70542-70E1-4C27-9556-C3FD05DC72C1}" dt="2025-09-04T15:50:16.561" v="525" actId="20577"/>
          <ac:spMkLst>
            <pc:docMk/>
            <pc:sldMk cId="2941204618" sldId="2147483419"/>
            <ac:spMk id="2" creationId="{F6F8EF28-670B-3735-C58B-8676A3D87D0A}"/>
          </ac:spMkLst>
        </pc:spChg>
        <pc:spChg chg="mod">
          <ac:chgData name="Munarriz Herrador Iñaki" userId="11637121-8aee-420b-9db7-54651cb06796" providerId="ADAL" clId="{00D70542-70E1-4C27-9556-C3FD05DC72C1}" dt="2025-09-04T15:51:17.944" v="557" actId="1035"/>
          <ac:spMkLst>
            <pc:docMk/>
            <pc:sldMk cId="2941204618" sldId="2147483419"/>
            <ac:spMk id="4" creationId="{0694FE0D-BE50-4FD4-49DB-AA015AF33AA0}"/>
          </ac:spMkLst>
        </pc:spChg>
        <pc:spChg chg="mod">
          <ac:chgData name="Munarriz Herrador Iñaki" userId="11637121-8aee-420b-9db7-54651cb06796" providerId="ADAL" clId="{00D70542-70E1-4C27-9556-C3FD05DC72C1}" dt="2025-09-04T15:51:14.055" v="539" actId="113"/>
          <ac:spMkLst>
            <pc:docMk/>
            <pc:sldMk cId="2941204618" sldId="2147483419"/>
            <ac:spMk id="6" creationId="{AF532910-AF89-9348-D4E5-3C7AB4BCCCF8}"/>
          </ac:spMkLst>
        </pc:spChg>
        <pc:spChg chg="mod">
          <ac:chgData name="Munarriz Herrador Iñaki" userId="11637121-8aee-420b-9db7-54651cb06796" providerId="ADAL" clId="{00D70542-70E1-4C27-9556-C3FD05DC72C1}" dt="2025-09-08T14:22:31.001" v="1960" actId="20577"/>
          <ac:spMkLst>
            <pc:docMk/>
            <pc:sldMk cId="2941204618" sldId="2147483419"/>
            <ac:spMk id="7" creationId="{0CD1FB89-B79A-68F5-F382-C74873F11F94}"/>
          </ac:spMkLst>
        </pc:spChg>
        <pc:picChg chg="add mod">
          <ac:chgData name="Munarriz Herrador Iñaki" userId="11637121-8aee-420b-9db7-54651cb06796" providerId="ADAL" clId="{00D70542-70E1-4C27-9556-C3FD05DC72C1}" dt="2025-09-04T15:55:42.778" v="582" actId="1076"/>
          <ac:picMkLst>
            <pc:docMk/>
            <pc:sldMk cId="2941204618" sldId="2147483419"/>
            <ac:picMk id="4102" creationId="{235CAA7A-E98A-ABAE-B31E-BDEE9F850A9C}"/>
          </ac:picMkLst>
        </pc:picChg>
      </pc:sldChg>
      <pc:sldChg chg="addSp delSp modSp mod ord">
        <pc:chgData name="Munarriz Herrador Iñaki" userId="11637121-8aee-420b-9db7-54651cb06796" providerId="ADAL" clId="{00D70542-70E1-4C27-9556-C3FD05DC72C1}" dt="2025-09-08T14:22:35.560" v="1961" actId="6549"/>
        <pc:sldMkLst>
          <pc:docMk/>
          <pc:sldMk cId="2241293320" sldId="2147483420"/>
        </pc:sldMkLst>
        <pc:spChg chg="mod">
          <ac:chgData name="Munarriz Herrador Iñaki" userId="11637121-8aee-420b-9db7-54651cb06796" providerId="ADAL" clId="{00D70542-70E1-4C27-9556-C3FD05DC72C1}" dt="2025-09-05T09:37:48.216" v="1570" actId="20577"/>
          <ac:spMkLst>
            <pc:docMk/>
            <pc:sldMk cId="2241293320" sldId="2147483420"/>
            <ac:spMk id="2" creationId="{62748080-A24C-C8C7-404B-5CE92FB764D3}"/>
          </ac:spMkLst>
        </pc:spChg>
        <pc:spChg chg="mod">
          <ac:chgData name="Munarriz Herrador Iñaki" userId="11637121-8aee-420b-9db7-54651cb06796" providerId="ADAL" clId="{00D70542-70E1-4C27-9556-C3FD05DC72C1}" dt="2025-09-04T15:00:34.851" v="334" actId="14100"/>
          <ac:spMkLst>
            <pc:docMk/>
            <pc:sldMk cId="2241293320" sldId="2147483420"/>
            <ac:spMk id="4" creationId="{DE110A49-BF26-C4C7-616A-D4DC80F98B09}"/>
          </ac:spMkLst>
        </pc:spChg>
        <pc:spChg chg="add mod">
          <ac:chgData name="Munarriz Herrador Iñaki" userId="11637121-8aee-420b-9db7-54651cb06796" providerId="ADAL" clId="{00D70542-70E1-4C27-9556-C3FD05DC72C1}" dt="2025-09-04T15:01:37.941" v="394" actId="122"/>
          <ac:spMkLst>
            <pc:docMk/>
            <pc:sldMk cId="2241293320" sldId="2147483420"/>
            <ac:spMk id="5" creationId="{55E00007-3D94-92AC-2A99-C96BCDC11C03}"/>
          </ac:spMkLst>
        </pc:spChg>
        <pc:spChg chg="mod">
          <ac:chgData name="Munarriz Herrador Iñaki" userId="11637121-8aee-420b-9db7-54651cb06796" providerId="ADAL" clId="{00D70542-70E1-4C27-9556-C3FD05DC72C1}" dt="2025-09-04T15:00:02.361" v="328" actId="14100"/>
          <ac:spMkLst>
            <pc:docMk/>
            <pc:sldMk cId="2241293320" sldId="2147483420"/>
            <ac:spMk id="6" creationId="{FF637865-3E85-3203-374B-2C19432A6B73}"/>
          </ac:spMkLst>
        </pc:spChg>
        <pc:spChg chg="mod">
          <ac:chgData name="Munarriz Herrador Iñaki" userId="11637121-8aee-420b-9db7-54651cb06796" providerId="ADAL" clId="{00D70542-70E1-4C27-9556-C3FD05DC72C1}" dt="2025-09-08T14:22:35.560" v="1961" actId="6549"/>
          <ac:spMkLst>
            <pc:docMk/>
            <pc:sldMk cId="2241293320" sldId="2147483420"/>
            <ac:spMk id="7" creationId="{FCE7AFCD-8BA0-57CC-92DA-5259FF6D04FC}"/>
          </ac:spMkLst>
        </pc:spChg>
        <pc:picChg chg="add mod">
          <ac:chgData name="Munarriz Herrador Iñaki" userId="11637121-8aee-420b-9db7-54651cb06796" providerId="ADAL" clId="{00D70542-70E1-4C27-9556-C3FD05DC72C1}" dt="2025-09-04T15:00:44.217" v="337" actId="1076"/>
          <ac:picMkLst>
            <pc:docMk/>
            <pc:sldMk cId="2241293320" sldId="2147483420"/>
            <ac:picMk id="2050" creationId="{8EF8D62B-9B68-FC97-C2E6-94228FA745F7}"/>
          </ac:picMkLst>
        </pc:picChg>
      </pc:sldChg>
      <pc:sldChg chg="addSp delSp modSp mod ord">
        <pc:chgData name="Munarriz Herrador Iñaki" userId="11637121-8aee-420b-9db7-54651cb06796" providerId="ADAL" clId="{00D70542-70E1-4C27-9556-C3FD05DC72C1}" dt="2025-09-08T14:22:27.109" v="1959" actId="20577"/>
        <pc:sldMkLst>
          <pc:docMk/>
          <pc:sldMk cId="3338159658" sldId="2147483421"/>
        </pc:sldMkLst>
        <pc:spChg chg="mod">
          <ac:chgData name="Munarriz Herrador Iñaki" userId="11637121-8aee-420b-9db7-54651cb06796" providerId="ADAL" clId="{00D70542-70E1-4C27-9556-C3FD05DC72C1}" dt="2025-09-05T09:39:43.119" v="1619" actId="20577"/>
          <ac:spMkLst>
            <pc:docMk/>
            <pc:sldMk cId="3338159658" sldId="2147483421"/>
            <ac:spMk id="2" creationId="{3B37F899-FA53-4C24-4646-4B6B9E903329}"/>
          </ac:spMkLst>
        </pc:spChg>
        <pc:spChg chg="mod">
          <ac:chgData name="Munarriz Herrador Iñaki" userId="11637121-8aee-420b-9db7-54651cb06796" providerId="ADAL" clId="{00D70542-70E1-4C27-9556-C3FD05DC72C1}" dt="2025-09-04T15:24:59.366" v="436" actId="1036"/>
          <ac:spMkLst>
            <pc:docMk/>
            <pc:sldMk cId="3338159658" sldId="2147483421"/>
            <ac:spMk id="4" creationId="{0F66483D-300F-864B-E899-DF51DDBEE45B}"/>
          </ac:spMkLst>
        </pc:spChg>
        <pc:spChg chg="mod">
          <ac:chgData name="Munarriz Herrador Iñaki" userId="11637121-8aee-420b-9db7-54651cb06796" providerId="ADAL" clId="{00D70542-70E1-4C27-9556-C3FD05DC72C1}" dt="2025-09-04T15:24:49.167" v="421" actId="14100"/>
          <ac:spMkLst>
            <pc:docMk/>
            <pc:sldMk cId="3338159658" sldId="2147483421"/>
            <ac:spMk id="6" creationId="{1066E964-838A-CADB-44E4-9CC80E76975A}"/>
          </ac:spMkLst>
        </pc:spChg>
        <pc:spChg chg="mod">
          <ac:chgData name="Munarriz Herrador Iñaki" userId="11637121-8aee-420b-9db7-54651cb06796" providerId="ADAL" clId="{00D70542-70E1-4C27-9556-C3FD05DC72C1}" dt="2025-09-08T14:22:27.109" v="1959" actId="20577"/>
          <ac:spMkLst>
            <pc:docMk/>
            <pc:sldMk cId="3338159658" sldId="2147483421"/>
            <ac:spMk id="7" creationId="{2C231F40-ED21-060A-0A17-1851668B7FFA}"/>
          </ac:spMkLst>
        </pc:spChg>
        <pc:picChg chg="add mod">
          <ac:chgData name="Munarriz Herrador Iñaki" userId="11637121-8aee-420b-9db7-54651cb06796" providerId="ADAL" clId="{00D70542-70E1-4C27-9556-C3FD05DC72C1}" dt="2025-09-04T15:24:45.835" v="420" actId="1076"/>
          <ac:picMkLst>
            <pc:docMk/>
            <pc:sldMk cId="3338159658" sldId="2147483421"/>
            <ac:picMk id="3076" creationId="{4FE390CD-0B82-235F-FDF5-7639A006FB39}"/>
          </ac:picMkLst>
        </pc:picChg>
      </pc:sldChg>
      <pc:sldChg chg="addSp delSp modSp mod ord">
        <pc:chgData name="Munarriz Herrador Iñaki" userId="11637121-8aee-420b-9db7-54651cb06796" providerId="ADAL" clId="{00D70542-70E1-4C27-9556-C3FD05DC72C1}" dt="2025-09-08T14:22:39.406" v="1962" actId="6549"/>
        <pc:sldMkLst>
          <pc:docMk/>
          <pc:sldMk cId="2221249643" sldId="2147483422"/>
        </pc:sldMkLst>
        <pc:spChg chg="mod">
          <ac:chgData name="Munarriz Herrador Iñaki" userId="11637121-8aee-420b-9db7-54651cb06796" providerId="ADAL" clId="{00D70542-70E1-4C27-9556-C3FD05DC72C1}" dt="2025-09-05T09:37:29.672" v="1565" actId="20577"/>
          <ac:spMkLst>
            <pc:docMk/>
            <pc:sldMk cId="2221249643" sldId="2147483422"/>
            <ac:spMk id="2" creationId="{9D2F6C1D-FEDC-702C-5020-F94D872F3968}"/>
          </ac:spMkLst>
        </pc:spChg>
        <pc:spChg chg="mod">
          <ac:chgData name="Munarriz Herrador Iñaki" userId="11637121-8aee-420b-9db7-54651cb06796" providerId="ADAL" clId="{00D70542-70E1-4C27-9556-C3FD05DC72C1}" dt="2025-09-04T15:41:28.066" v="461" actId="20577"/>
          <ac:spMkLst>
            <pc:docMk/>
            <pc:sldMk cId="2221249643" sldId="2147483422"/>
            <ac:spMk id="4" creationId="{D808C393-A724-2032-9DE8-0B1B1BCFE463}"/>
          </ac:spMkLst>
        </pc:spChg>
        <pc:spChg chg="mod">
          <ac:chgData name="Munarriz Herrador Iñaki" userId="11637121-8aee-420b-9db7-54651cb06796" providerId="ADAL" clId="{00D70542-70E1-4C27-9556-C3FD05DC72C1}" dt="2025-09-04T15:44:06.188" v="469" actId="113"/>
          <ac:spMkLst>
            <pc:docMk/>
            <pc:sldMk cId="2221249643" sldId="2147483422"/>
            <ac:spMk id="6" creationId="{646AC361-A9CD-B09B-FD22-3A537C56C047}"/>
          </ac:spMkLst>
        </pc:spChg>
        <pc:spChg chg="mod">
          <ac:chgData name="Munarriz Herrador Iñaki" userId="11637121-8aee-420b-9db7-54651cb06796" providerId="ADAL" clId="{00D70542-70E1-4C27-9556-C3FD05DC72C1}" dt="2025-09-08T14:22:39.406" v="1962" actId="6549"/>
          <ac:spMkLst>
            <pc:docMk/>
            <pc:sldMk cId="2221249643" sldId="2147483422"/>
            <ac:spMk id="7" creationId="{F411F693-FDAB-4FEE-A7CF-AF434D3FE9C7}"/>
          </ac:spMkLst>
        </pc:spChg>
        <pc:picChg chg="add mod">
          <ac:chgData name="Munarriz Herrador Iñaki" userId="11637121-8aee-420b-9db7-54651cb06796" providerId="ADAL" clId="{00D70542-70E1-4C27-9556-C3FD05DC72C1}" dt="2025-09-04T15:47:53.932" v="523" actId="1076"/>
          <ac:picMkLst>
            <pc:docMk/>
            <pc:sldMk cId="2221249643" sldId="2147483422"/>
            <ac:picMk id="8" creationId="{ECD6F093-A024-8310-ED6A-CECED6DC3F2A}"/>
          </ac:picMkLst>
        </pc:picChg>
      </pc:sldChg>
      <pc:sldChg chg="addSp delSp modSp mod">
        <pc:chgData name="Munarriz Herrador Iñaki" userId="11637121-8aee-420b-9db7-54651cb06796" providerId="ADAL" clId="{00D70542-70E1-4C27-9556-C3FD05DC72C1}" dt="2025-09-05T09:37:17.971" v="1561" actId="20577"/>
        <pc:sldMkLst>
          <pc:docMk/>
          <pc:sldMk cId="2604043654" sldId="2147483423"/>
        </pc:sldMkLst>
        <pc:spChg chg="mod">
          <ac:chgData name="Munarriz Herrador Iñaki" userId="11637121-8aee-420b-9db7-54651cb06796" providerId="ADAL" clId="{00D70542-70E1-4C27-9556-C3FD05DC72C1}" dt="2025-09-05T09:37:17.971" v="1561" actId="20577"/>
          <ac:spMkLst>
            <pc:docMk/>
            <pc:sldMk cId="2604043654" sldId="2147483423"/>
            <ac:spMk id="2" creationId="{C8035EEC-9AC8-B71D-AB5F-8B13BF6A5FF3}"/>
          </ac:spMkLst>
        </pc:spChg>
        <pc:spChg chg="mod">
          <ac:chgData name="Munarriz Herrador Iñaki" userId="11637121-8aee-420b-9db7-54651cb06796" providerId="ADAL" clId="{00D70542-70E1-4C27-9556-C3FD05DC72C1}" dt="2025-09-04T14:00:04.994" v="52" actId="1036"/>
          <ac:spMkLst>
            <pc:docMk/>
            <pc:sldMk cId="2604043654" sldId="2147483423"/>
            <ac:spMk id="4" creationId="{8D235F53-2B5B-5D30-E390-E1F1E98DDD46}"/>
          </ac:spMkLst>
        </pc:spChg>
        <pc:spChg chg="mod">
          <ac:chgData name="Munarriz Herrador Iñaki" userId="11637121-8aee-420b-9db7-54651cb06796" providerId="ADAL" clId="{00D70542-70E1-4C27-9556-C3FD05DC72C1}" dt="2025-09-04T13:59:58.802" v="35" actId="20577"/>
          <ac:spMkLst>
            <pc:docMk/>
            <pc:sldMk cId="2604043654" sldId="2147483423"/>
            <ac:spMk id="6" creationId="{7F3A3E6B-049F-605D-9A22-A38D364AFB3E}"/>
          </ac:spMkLst>
        </pc:spChg>
        <pc:spChg chg="mod">
          <ac:chgData name="Munarriz Herrador Iñaki" userId="11637121-8aee-420b-9db7-54651cb06796" providerId="ADAL" clId="{00D70542-70E1-4C27-9556-C3FD05DC72C1}" dt="2025-09-04T14:33:25.020" v="280" actId="14100"/>
          <ac:spMkLst>
            <pc:docMk/>
            <pc:sldMk cId="2604043654" sldId="2147483423"/>
            <ac:spMk id="7" creationId="{2C7BA4D6-FEDC-25EB-0371-FF4CD00D153F}"/>
          </ac:spMkLst>
        </pc:spChg>
        <pc:picChg chg="add mod">
          <ac:chgData name="Munarriz Herrador Iñaki" userId="11637121-8aee-420b-9db7-54651cb06796" providerId="ADAL" clId="{00D70542-70E1-4C27-9556-C3FD05DC72C1}" dt="2025-09-04T14:00:15.595" v="55" actId="1076"/>
          <ac:picMkLst>
            <pc:docMk/>
            <pc:sldMk cId="2604043654" sldId="2147483423"/>
            <ac:picMk id="3" creationId="{8E4F6CCA-E31A-26E1-341E-52B553BE5D13}"/>
          </ac:picMkLst>
        </pc:picChg>
      </pc:sldChg>
      <pc:sldChg chg="addSp delSp modSp mod">
        <pc:chgData name="Munarriz Herrador Iñaki" userId="11637121-8aee-420b-9db7-54651cb06796" providerId="ADAL" clId="{00D70542-70E1-4C27-9556-C3FD05DC72C1}" dt="2025-09-05T09:39:58.401" v="1622" actId="20577"/>
        <pc:sldMkLst>
          <pc:docMk/>
          <pc:sldMk cId="4052193775" sldId="2147483425"/>
        </pc:sldMkLst>
        <pc:spChg chg="mod">
          <ac:chgData name="Munarriz Herrador Iñaki" userId="11637121-8aee-420b-9db7-54651cb06796" providerId="ADAL" clId="{00D70542-70E1-4C27-9556-C3FD05DC72C1}" dt="2025-09-05T09:39:58.401" v="1622" actId="20577"/>
          <ac:spMkLst>
            <pc:docMk/>
            <pc:sldMk cId="4052193775" sldId="2147483425"/>
            <ac:spMk id="2" creationId="{9E0CA661-A3CD-00A8-76B0-37D044EE79BC}"/>
          </ac:spMkLst>
        </pc:spChg>
        <pc:spChg chg="add mod">
          <ac:chgData name="Munarriz Herrador Iñaki" userId="11637121-8aee-420b-9db7-54651cb06796" providerId="ADAL" clId="{00D70542-70E1-4C27-9556-C3FD05DC72C1}" dt="2025-09-04T16:27:44.312" v="616" actId="1037"/>
          <ac:spMkLst>
            <pc:docMk/>
            <pc:sldMk cId="4052193775" sldId="2147483425"/>
            <ac:spMk id="4" creationId="{87DFC468-1F9B-8979-BD49-0776D1A679DF}"/>
          </ac:spMkLst>
        </pc:spChg>
        <pc:spChg chg="mod">
          <ac:chgData name="Munarriz Herrador Iñaki" userId="11637121-8aee-420b-9db7-54651cb06796" providerId="ADAL" clId="{00D70542-70E1-4C27-9556-C3FD05DC72C1}" dt="2025-09-04T16:31:08.961" v="645" actId="14100"/>
          <ac:spMkLst>
            <pc:docMk/>
            <pc:sldMk cId="4052193775" sldId="2147483425"/>
            <ac:spMk id="6" creationId="{3B21D5C8-2E81-D7A0-C9FE-DF1A7F622938}"/>
          </ac:spMkLst>
        </pc:spChg>
        <pc:picChg chg="add mod">
          <ac:chgData name="Munarriz Herrador Iñaki" userId="11637121-8aee-420b-9db7-54651cb06796" providerId="ADAL" clId="{00D70542-70E1-4C27-9556-C3FD05DC72C1}" dt="2025-09-04T16:31:11.471" v="646" actId="14100"/>
          <ac:picMkLst>
            <pc:docMk/>
            <pc:sldMk cId="4052193775" sldId="2147483425"/>
            <ac:picMk id="5122" creationId="{6014819A-CEB3-CF71-7432-C62609BB9841}"/>
          </ac:picMkLst>
        </pc:picChg>
      </pc:sldChg>
      <pc:sldChg chg="del">
        <pc:chgData name="Munarriz Herrador Iñaki" userId="11637121-8aee-420b-9db7-54651cb06796" providerId="ADAL" clId="{00D70542-70E1-4C27-9556-C3FD05DC72C1}" dt="2025-09-05T07:14:55.227" v="904" actId="47"/>
        <pc:sldMkLst>
          <pc:docMk/>
          <pc:sldMk cId="311068668" sldId="2147483426"/>
        </pc:sldMkLst>
      </pc:sldChg>
      <pc:sldChg chg="del">
        <pc:chgData name="Munarriz Herrador Iñaki" userId="11637121-8aee-420b-9db7-54651cb06796" providerId="ADAL" clId="{00D70542-70E1-4C27-9556-C3FD05DC72C1}" dt="2025-09-05T07:14:55.227" v="904" actId="47"/>
        <pc:sldMkLst>
          <pc:docMk/>
          <pc:sldMk cId="3711774561" sldId="2147483427"/>
        </pc:sldMkLst>
      </pc:sldChg>
      <pc:sldChg chg="del">
        <pc:chgData name="Munarriz Herrador Iñaki" userId="11637121-8aee-420b-9db7-54651cb06796" providerId="ADAL" clId="{00D70542-70E1-4C27-9556-C3FD05DC72C1}" dt="2025-09-05T07:14:55.227" v="904" actId="47"/>
        <pc:sldMkLst>
          <pc:docMk/>
          <pc:sldMk cId="2610362918" sldId="2147483429"/>
        </pc:sldMkLst>
      </pc:sldChg>
      <pc:sldChg chg="del">
        <pc:chgData name="Munarriz Herrador Iñaki" userId="11637121-8aee-420b-9db7-54651cb06796" providerId="ADAL" clId="{00D70542-70E1-4C27-9556-C3FD05DC72C1}" dt="2025-09-05T07:14:55.227" v="904" actId="47"/>
        <pc:sldMkLst>
          <pc:docMk/>
          <pc:sldMk cId="2915422796" sldId="2147483430"/>
        </pc:sldMkLst>
      </pc:sldChg>
      <pc:sldChg chg="del">
        <pc:chgData name="Munarriz Herrador Iñaki" userId="11637121-8aee-420b-9db7-54651cb06796" providerId="ADAL" clId="{00D70542-70E1-4C27-9556-C3FD05DC72C1}" dt="2025-09-05T07:14:55.227" v="904" actId="47"/>
        <pc:sldMkLst>
          <pc:docMk/>
          <pc:sldMk cId="1786951196" sldId="2147483431"/>
        </pc:sldMkLst>
      </pc:sldChg>
      <pc:sldChg chg="addSp delSp modSp add mod">
        <pc:chgData name="Munarriz Herrador Iñaki" userId="11637121-8aee-420b-9db7-54651cb06796" providerId="ADAL" clId="{00D70542-70E1-4C27-9556-C3FD05DC72C1}" dt="2025-09-05T09:39:50.712" v="1621" actId="20577"/>
        <pc:sldMkLst>
          <pc:docMk/>
          <pc:sldMk cId="37755106" sldId="2147483432"/>
        </pc:sldMkLst>
        <pc:spChg chg="mod">
          <ac:chgData name="Munarriz Herrador Iñaki" userId="11637121-8aee-420b-9db7-54651cb06796" providerId="ADAL" clId="{00D70542-70E1-4C27-9556-C3FD05DC72C1}" dt="2025-09-05T09:39:50.712" v="1621" actId="20577"/>
          <ac:spMkLst>
            <pc:docMk/>
            <pc:sldMk cId="37755106" sldId="2147483432"/>
            <ac:spMk id="2" creationId="{2BB8BE9C-232A-F41F-46DC-8D490F741C39}"/>
          </ac:spMkLst>
        </pc:spChg>
        <pc:spChg chg="mod">
          <ac:chgData name="Munarriz Herrador Iñaki" userId="11637121-8aee-420b-9db7-54651cb06796" providerId="ADAL" clId="{00D70542-70E1-4C27-9556-C3FD05DC72C1}" dt="2025-09-04T14:46:34.464" v="298" actId="20577"/>
          <ac:spMkLst>
            <pc:docMk/>
            <pc:sldMk cId="37755106" sldId="2147483432"/>
            <ac:spMk id="4" creationId="{7E656263-C6B2-FC56-7010-61D0E61A30A2}"/>
          </ac:spMkLst>
        </pc:spChg>
        <pc:spChg chg="mod">
          <ac:chgData name="Munarriz Herrador Iñaki" userId="11637121-8aee-420b-9db7-54651cb06796" providerId="ADAL" clId="{00D70542-70E1-4C27-9556-C3FD05DC72C1}" dt="2025-09-04T14:46:22.210" v="296" actId="113"/>
          <ac:spMkLst>
            <pc:docMk/>
            <pc:sldMk cId="37755106" sldId="2147483432"/>
            <ac:spMk id="6" creationId="{0FB17279-041B-F303-CDF3-6A83E25E5E44}"/>
          </ac:spMkLst>
        </pc:spChg>
        <pc:picChg chg="add mod">
          <ac:chgData name="Munarriz Herrador Iñaki" userId="11637121-8aee-420b-9db7-54651cb06796" providerId="ADAL" clId="{00D70542-70E1-4C27-9556-C3FD05DC72C1}" dt="2025-09-04T14:47:26.462" v="305" actId="1076"/>
          <ac:picMkLst>
            <pc:docMk/>
            <pc:sldMk cId="37755106" sldId="2147483432"/>
            <ac:picMk id="1026" creationId="{1ABF22D1-531C-2EFB-93D1-6AA409CC178F}"/>
          </ac:picMkLst>
        </pc:picChg>
      </pc:sldChg>
      <pc:sldChg chg="addSp delSp modSp add mod ord">
        <pc:chgData name="Munarriz Herrador Iñaki" userId="11637121-8aee-420b-9db7-54651cb06796" providerId="ADAL" clId="{00D70542-70E1-4C27-9556-C3FD05DC72C1}" dt="2025-09-08T14:45:49.675" v="2117" actId="14100"/>
        <pc:sldMkLst>
          <pc:docMk/>
          <pc:sldMk cId="3338946092" sldId="2147483433"/>
        </pc:sldMkLst>
        <pc:spChg chg="mod">
          <ac:chgData name="Munarriz Herrador Iñaki" userId="11637121-8aee-420b-9db7-54651cb06796" providerId="ADAL" clId="{00D70542-70E1-4C27-9556-C3FD05DC72C1}" dt="2025-09-04T14:08:23.762" v="113" actId="20577"/>
          <ac:spMkLst>
            <pc:docMk/>
            <pc:sldMk cId="3338946092" sldId="2147483433"/>
            <ac:spMk id="2" creationId="{5716D71B-17A2-35E9-4D6F-30916BCC0BDB}"/>
          </ac:spMkLst>
        </pc:spChg>
        <pc:spChg chg="mod">
          <ac:chgData name="Munarriz Herrador Iñaki" userId="11637121-8aee-420b-9db7-54651cb06796" providerId="ADAL" clId="{00D70542-70E1-4C27-9556-C3FD05DC72C1}" dt="2025-09-04T14:15:23.025" v="216" actId="1036"/>
          <ac:spMkLst>
            <pc:docMk/>
            <pc:sldMk cId="3338946092" sldId="2147483433"/>
            <ac:spMk id="4" creationId="{EFD6DE82-A963-69FB-384D-545762B104E3}"/>
          </ac:spMkLst>
        </pc:spChg>
        <pc:spChg chg="mod">
          <ac:chgData name="Munarriz Herrador Iñaki" userId="11637121-8aee-420b-9db7-54651cb06796" providerId="ADAL" clId="{00D70542-70E1-4C27-9556-C3FD05DC72C1}" dt="2025-09-04T14:15:30.406" v="217" actId="14100"/>
          <ac:spMkLst>
            <pc:docMk/>
            <pc:sldMk cId="3338946092" sldId="2147483433"/>
            <ac:spMk id="6" creationId="{C2A832E8-EFE9-839F-0564-909B9D205760}"/>
          </ac:spMkLst>
        </pc:spChg>
        <pc:spChg chg="mod">
          <ac:chgData name="Munarriz Herrador Iñaki" userId="11637121-8aee-420b-9db7-54651cb06796" providerId="ADAL" clId="{00D70542-70E1-4C27-9556-C3FD05DC72C1}" dt="2025-09-08T14:22:44.183" v="1963" actId="6549"/>
          <ac:spMkLst>
            <pc:docMk/>
            <pc:sldMk cId="3338946092" sldId="2147483433"/>
            <ac:spMk id="7" creationId="{9EC37666-FDE7-2D7A-6576-57A1C21EAD0A}"/>
          </ac:spMkLst>
        </pc:spChg>
        <pc:picChg chg="add mod">
          <ac:chgData name="Munarriz Herrador Iñaki" userId="11637121-8aee-420b-9db7-54651cb06796" providerId="ADAL" clId="{00D70542-70E1-4C27-9556-C3FD05DC72C1}" dt="2025-09-08T14:45:49.675" v="2117" actId="14100"/>
          <ac:picMkLst>
            <pc:docMk/>
            <pc:sldMk cId="3338946092" sldId="2147483433"/>
            <ac:picMk id="5" creationId="{CA4854CB-95E7-DADE-623B-A1A1E14802F3}"/>
          </ac:picMkLst>
        </pc:picChg>
      </pc:sldChg>
      <pc:sldChg chg="addSp delSp modSp add mod ord">
        <pc:chgData name="Munarriz Herrador Iñaki" userId="11637121-8aee-420b-9db7-54651cb06796" providerId="ADAL" clId="{00D70542-70E1-4C27-9556-C3FD05DC72C1}" dt="2025-09-05T09:39:46.655" v="1620" actId="20577"/>
        <pc:sldMkLst>
          <pc:docMk/>
          <pc:sldMk cId="875686067" sldId="2147483434"/>
        </pc:sldMkLst>
        <pc:spChg chg="mod">
          <ac:chgData name="Munarriz Herrador Iñaki" userId="11637121-8aee-420b-9db7-54651cb06796" providerId="ADAL" clId="{00D70542-70E1-4C27-9556-C3FD05DC72C1}" dt="2025-09-05T09:39:46.655" v="1620" actId="20577"/>
          <ac:spMkLst>
            <pc:docMk/>
            <pc:sldMk cId="875686067" sldId="2147483434"/>
            <ac:spMk id="2" creationId="{EC77E358-348A-9F53-3812-A646AEA1F61D}"/>
          </ac:spMkLst>
        </pc:spChg>
        <pc:spChg chg="mod">
          <ac:chgData name="Munarriz Herrador Iñaki" userId="11637121-8aee-420b-9db7-54651cb06796" providerId="ADAL" clId="{00D70542-70E1-4C27-9556-C3FD05DC72C1}" dt="2025-09-04T14:24:56.722" v="232"/>
          <ac:spMkLst>
            <pc:docMk/>
            <pc:sldMk cId="875686067" sldId="2147483434"/>
            <ac:spMk id="4" creationId="{98124C48-E434-B559-1D59-13AA540235F6}"/>
          </ac:spMkLst>
        </pc:spChg>
        <pc:spChg chg="mod">
          <ac:chgData name="Munarriz Herrador Iñaki" userId="11637121-8aee-420b-9db7-54651cb06796" providerId="ADAL" clId="{00D70542-70E1-4C27-9556-C3FD05DC72C1}" dt="2025-09-04T14:27:13.009" v="242" actId="113"/>
          <ac:spMkLst>
            <pc:docMk/>
            <pc:sldMk cId="875686067" sldId="2147483434"/>
            <ac:spMk id="6" creationId="{66E190E4-77CF-AFB1-1833-971AB0B8FED1}"/>
          </ac:spMkLst>
        </pc:spChg>
        <pc:spChg chg="mod">
          <ac:chgData name="Munarriz Herrador Iñaki" userId="11637121-8aee-420b-9db7-54651cb06796" providerId="ADAL" clId="{00D70542-70E1-4C27-9556-C3FD05DC72C1}" dt="2025-09-04T14:33:02.287" v="277" actId="1035"/>
          <ac:spMkLst>
            <pc:docMk/>
            <pc:sldMk cId="875686067" sldId="2147483434"/>
            <ac:spMk id="7" creationId="{B7DBD80F-C219-BE4F-1F95-F15C4A361D32}"/>
          </ac:spMkLst>
        </pc:spChg>
        <pc:picChg chg="add mod">
          <ac:chgData name="Munarriz Herrador Iñaki" userId="11637121-8aee-420b-9db7-54651cb06796" providerId="ADAL" clId="{00D70542-70E1-4C27-9556-C3FD05DC72C1}" dt="2025-09-04T14:32:05.148" v="249" actId="1076"/>
          <ac:picMkLst>
            <pc:docMk/>
            <pc:sldMk cId="875686067" sldId="2147483434"/>
            <ac:picMk id="10" creationId="{3E905F38-7E43-1EC9-D70C-DF56CB1D03C8}"/>
          </ac:picMkLst>
        </pc:picChg>
      </pc:sldChg>
      <pc:sldChg chg="addSp delSp modSp add mod">
        <pc:chgData name="Munarriz Herrador Iñaki" userId="11637121-8aee-420b-9db7-54651cb06796" providerId="ADAL" clId="{00D70542-70E1-4C27-9556-C3FD05DC72C1}" dt="2025-09-05T09:40:00.776" v="1623" actId="20577"/>
        <pc:sldMkLst>
          <pc:docMk/>
          <pc:sldMk cId="1357118454" sldId="2147483435"/>
        </pc:sldMkLst>
        <pc:spChg chg="mod">
          <ac:chgData name="Munarriz Herrador Iñaki" userId="11637121-8aee-420b-9db7-54651cb06796" providerId="ADAL" clId="{00D70542-70E1-4C27-9556-C3FD05DC72C1}" dt="2025-09-05T09:40:00.776" v="1623" actId="20577"/>
          <ac:spMkLst>
            <pc:docMk/>
            <pc:sldMk cId="1357118454" sldId="2147483435"/>
            <ac:spMk id="2" creationId="{8307FA5B-842C-6686-9969-1151195C9D7E}"/>
          </ac:spMkLst>
        </pc:spChg>
        <pc:spChg chg="mod">
          <ac:chgData name="Munarriz Herrador Iñaki" userId="11637121-8aee-420b-9db7-54651cb06796" providerId="ADAL" clId="{00D70542-70E1-4C27-9556-C3FD05DC72C1}" dt="2025-09-04T16:33:11.358" v="656" actId="20577"/>
          <ac:spMkLst>
            <pc:docMk/>
            <pc:sldMk cId="1357118454" sldId="2147483435"/>
            <ac:spMk id="4" creationId="{0A2865A0-AFD5-7F00-76C7-83027AC2C060}"/>
          </ac:spMkLst>
        </pc:spChg>
        <pc:spChg chg="add mod">
          <ac:chgData name="Munarriz Herrador Iñaki" userId="11637121-8aee-420b-9db7-54651cb06796" providerId="ADAL" clId="{00D70542-70E1-4C27-9556-C3FD05DC72C1}" dt="2025-09-05T08:31:26.011" v="914" actId="207"/>
          <ac:spMkLst>
            <pc:docMk/>
            <pc:sldMk cId="1357118454" sldId="2147483435"/>
            <ac:spMk id="5" creationId="{4AE98249-ED99-29DC-9901-53EE7C6F56AE}"/>
          </ac:spMkLst>
        </pc:spChg>
        <pc:spChg chg="mod">
          <ac:chgData name="Munarriz Herrador Iñaki" userId="11637121-8aee-420b-9db7-54651cb06796" providerId="ADAL" clId="{00D70542-70E1-4C27-9556-C3FD05DC72C1}" dt="2025-09-04T16:33:40.645" v="661" actId="20577"/>
          <ac:spMkLst>
            <pc:docMk/>
            <pc:sldMk cId="1357118454" sldId="2147483435"/>
            <ac:spMk id="6" creationId="{24F8CB03-D734-8ECC-1CC4-829C73CB7119}"/>
          </ac:spMkLst>
        </pc:spChg>
        <pc:spChg chg="add mod">
          <ac:chgData name="Munarriz Herrador Iñaki" userId="11637121-8aee-420b-9db7-54651cb06796" providerId="ADAL" clId="{00D70542-70E1-4C27-9556-C3FD05DC72C1}" dt="2025-09-05T08:31:57.692" v="933" actId="1035"/>
          <ac:spMkLst>
            <pc:docMk/>
            <pc:sldMk cId="1357118454" sldId="2147483435"/>
            <ac:spMk id="8" creationId="{334474D0-9473-7DE4-D96A-E6FF16538E73}"/>
          </ac:spMkLst>
        </pc:spChg>
        <pc:picChg chg="add mod">
          <ac:chgData name="Munarriz Herrador Iñaki" userId="11637121-8aee-420b-9db7-54651cb06796" providerId="ADAL" clId="{00D70542-70E1-4C27-9556-C3FD05DC72C1}" dt="2025-09-05T08:31:57.692" v="933" actId="1035"/>
          <ac:picMkLst>
            <pc:docMk/>
            <pc:sldMk cId="1357118454" sldId="2147483435"/>
            <ac:picMk id="6146" creationId="{5E342BA1-B414-7A13-CFAF-297589A06561}"/>
          </ac:picMkLst>
        </pc:picChg>
      </pc:sldChg>
      <pc:sldChg chg="add del">
        <pc:chgData name="Munarriz Herrador Iñaki" userId="11637121-8aee-420b-9db7-54651cb06796" providerId="ADAL" clId="{00D70542-70E1-4C27-9556-C3FD05DC72C1}" dt="2025-09-04T15:25:41.906" v="454" actId="47"/>
        <pc:sldMkLst>
          <pc:docMk/>
          <pc:sldMk cId="4101695970" sldId="2147483435"/>
        </pc:sldMkLst>
      </pc:sldChg>
      <pc:sldChg chg="addSp delSp modSp add mod">
        <pc:chgData name="Munarriz Herrador Iñaki" userId="11637121-8aee-420b-9db7-54651cb06796" providerId="ADAL" clId="{00D70542-70E1-4C27-9556-C3FD05DC72C1}" dt="2025-09-05T09:40:04.402" v="1624" actId="6549"/>
        <pc:sldMkLst>
          <pc:docMk/>
          <pc:sldMk cId="2304589916" sldId="2147483436"/>
        </pc:sldMkLst>
        <pc:spChg chg="mod">
          <ac:chgData name="Munarriz Herrador Iñaki" userId="11637121-8aee-420b-9db7-54651cb06796" providerId="ADAL" clId="{00D70542-70E1-4C27-9556-C3FD05DC72C1}" dt="2025-09-05T09:40:04.402" v="1624" actId="6549"/>
          <ac:spMkLst>
            <pc:docMk/>
            <pc:sldMk cId="2304589916" sldId="2147483436"/>
            <ac:spMk id="2" creationId="{FEC33272-241D-EE43-6D48-DDBEDCA361EA}"/>
          </ac:spMkLst>
        </pc:spChg>
        <pc:spChg chg="mod">
          <ac:chgData name="Munarriz Herrador Iñaki" userId="11637121-8aee-420b-9db7-54651cb06796" providerId="ADAL" clId="{00D70542-70E1-4C27-9556-C3FD05DC72C1}" dt="2025-09-04T16:36:52.551" v="690" actId="20577"/>
          <ac:spMkLst>
            <pc:docMk/>
            <pc:sldMk cId="2304589916" sldId="2147483436"/>
            <ac:spMk id="4" creationId="{025D7416-E54C-74DE-0C75-CFF591AB4F1E}"/>
          </ac:spMkLst>
        </pc:spChg>
        <pc:spChg chg="mod">
          <ac:chgData name="Munarriz Herrador Iñaki" userId="11637121-8aee-420b-9db7-54651cb06796" providerId="ADAL" clId="{00D70542-70E1-4C27-9556-C3FD05DC72C1}" dt="2025-09-05T08:32:27.149" v="951" actId="1035"/>
          <ac:spMkLst>
            <pc:docMk/>
            <pc:sldMk cId="2304589916" sldId="2147483436"/>
            <ac:spMk id="5" creationId="{B6AA2FC4-9655-FD7B-9748-14A7A7B2CC87}"/>
          </ac:spMkLst>
        </pc:spChg>
        <pc:spChg chg="mod">
          <ac:chgData name="Munarriz Herrador Iñaki" userId="11637121-8aee-420b-9db7-54651cb06796" providerId="ADAL" clId="{00D70542-70E1-4C27-9556-C3FD05DC72C1}" dt="2025-09-05T08:32:20.211" v="944" actId="14100"/>
          <ac:spMkLst>
            <pc:docMk/>
            <pc:sldMk cId="2304589916" sldId="2147483436"/>
            <ac:spMk id="6" creationId="{70FD953E-BB70-749D-DEEE-8BEB8701F433}"/>
          </ac:spMkLst>
        </pc:spChg>
        <pc:picChg chg="add mod">
          <ac:chgData name="Munarriz Herrador Iñaki" userId="11637121-8aee-420b-9db7-54651cb06796" providerId="ADAL" clId="{00D70542-70E1-4C27-9556-C3FD05DC72C1}" dt="2025-09-05T08:32:27.149" v="951" actId="1035"/>
          <ac:picMkLst>
            <pc:docMk/>
            <pc:sldMk cId="2304589916" sldId="2147483436"/>
            <ac:picMk id="7170" creationId="{96BC0B7E-E44E-D768-DC5D-4F30C13D2B1C}"/>
          </ac:picMkLst>
        </pc:picChg>
      </pc:sldChg>
      <pc:sldChg chg="addSp delSp modSp add mod">
        <pc:chgData name="Munarriz Herrador Iñaki" userId="11637121-8aee-420b-9db7-54651cb06796" providerId="ADAL" clId="{00D70542-70E1-4C27-9556-C3FD05DC72C1}" dt="2025-09-05T09:40:08.430" v="1625" actId="6549"/>
        <pc:sldMkLst>
          <pc:docMk/>
          <pc:sldMk cId="1464428927" sldId="2147483437"/>
        </pc:sldMkLst>
        <pc:spChg chg="mod">
          <ac:chgData name="Munarriz Herrador Iñaki" userId="11637121-8aee-420b-9db7-54651cb06796" providerId="ADAL" clId="{00D70542-70E1-4C27-9556-C3FD05DC72C1}" dt="2025-09-05T09:40:08.430" v="1625" actId="6549"/>
          <ac:spMkLst>
            <pc:docMk/>
            <pc:sldMk cId="1464428927" sldId="2147483437"/>
            <ac:spMk id="2" creationId="{393E2421-E5ED-8770-9640-36A26E2403ED}"/>
          </ac:spMkLst>
        </pc:spChg>
        <pc:spChg chg="add mod">
          <ac:chgData name="Munarriz Herrador Iñaki" userId="11637121-8aee-420b-9db7-54651cb06796" providerId="ADAL" clId="{00D70542-70E1-4C27-9556-C3FD05DC72C1}" dt="2025-09-05T07:11:19.708" v="821" actId="113"/>
          <ac:spMkLst>
            <pc:docMk/>
            <pc:sldMk cId="1464428927" sldId="2147483437"/>
            <ac:spMk id="3" creationId="{4A8B6D48-C9E0-4824-E926-041015735CED}"/>
          </ac:spMkLst>
        </pc:spChg>
        <pc:spChg chg="mod">
          <ac:chgData name="Munarriz Herrador Iñaki" userId="11637121-8aee-420b-9db7-54651cb06796" providerId="ADAL" clId="{00D70542-70E1-4C27-9556-C3FD05DC72C1}" dt="2025-09-04T16:37:04.069" v="691"/>
          <ac:spMkLst>
            <pc:docMk/>
            <pc:sldMk cId="1464428927" sldId="2147483437"/>
            <ac:spMk id="4" creationId="{42506090-B584-58E7-AAD4-95A4F292C9D7}"/>
          </ac:spMkLst>
        </pc:spChg>
        <pc:spChg chg="mod">
          <ac:chgData name="Munarriz Herrador Iñaki" userId="11637121-8aee-420b-9db7-54651cb06796" providerId="ADAL" clId="{00D70542-70E1-4C27-9556-C3FD05DC72C1}" dt="2025-09-05T07:11:28.724" v="822" actId="14100"/>
          <ac:spMkLst>
            <pc:docMk/>
            <pc:sldMk cId="1464428927" sldId="2147483437"/>
            <ac:spMk id="6" creationId="{31C4E39D-516F-F9DC-8549-D7FC82B968DF}"/>
          </ac:spMkLst>
        </pc:spChg>
        <pc:spChg chg="add mod">
          <ac:chgData name="Munarriz Herrador Iñaki" userId="11637121-8aee-420b-9db7-54651cb06796" providerId="ADAL" clId="{00D70542-70E1-4C27-9556-C3FD05DC72C1}" dt="2025-09-05T07:11:19.708" v="821" actId="113"/>
          <ac:spMkLst>
            <pc:docMk/>
            <pc:sldMk cId="1464428927" sldId="2147483437"/>
            <ac:spMk id="9" creationId="{AF8843CB-4BA7-0D18-F288-EB92258CEEFF}"/>
          </ac:spMkLst>
        </pc:spChg>
        <pc:spChg chg="add mod">
          <ac:chgData name="Munarriz Herrador Iñaki" userId="11637121-8aee-420b-9db7-54651cb06796" providerId="ADAL" clId="{00D70542-70E1-4C27-9556-C3FD05DC72C1}" dt="2025-09-05T07:12:14.132" v="835" actId="1036"/>
          <ac:spMkLst>
            <pc:docMk/>
            <pc:sldMk cId="1464428927" sldId="2147483437"/>
            <ac:spMk id="10" creationId="{875C1840-CBD9-BE80-A0EF-172E0EAB3A2E}"/>
          </ac:spMkLst>
        </pc:spChg>
        <pc:spChg chg="add mod">
          <ac:chgData name="Munarriz Herrador Iñaki" userId="11637121-8aee-420b-9db7-54651cb06796" providerId="ADAL" clId="{00D70542-70E1-4C27-9556-C3FD05DC72C1}" dt="2025-09-05T07:12:14.132" v="835" actId="1036"/>
          <ac:spMkLst>
            <pc:docMk/>
            <pc:sldMk cId="1464428927" sldId="2147483437"/>
            <ac:spMk id="11" creationId="{E77F9DD2-4B04-12F2-C63E-98AA8220F670}"/>
          </ac:spMkLst>
        </pc:spChg>
        <pc:spChg chg="add mod">
          <ac:chgData name="Munarriz Herrador Iñaki" userId="11637121-8aee-420b-9db7-54651cb06796" providerId="ADAL" clId="{00D70542-70E1-4C27-9556-C3FD05DC72C1}" dt="2025-09-05T07:14:19.103" v="903" actId="1035"/>
          <ac:spMkLst>
            <pc:docMk/>
            <pc:sldMk cId="1464428927" sldId="2147483437"/>
            <ac:spMk id="12" creationId="{6C4E7D48-4C87-889E-286E-E8971610DBA0}"/>
          </ac:spMkLst>
        </pc:spChg>
      </pc:sldChg>
      <pc:sldChg chg="modSp add del mod">
        <pc:chgData name="Munarriz Herrador Iñaki" userId="11637121-8aee-420b-9db7-54651cb06796" providerId="ADAL" clId="{00D70542-70E1-4C27-9556-C3FD05DC72C1}" dt="2025-09-05T09:37:34.327" v="1566" actId="47"/>
        <pc:sldMkLst>
          <pc:docMk/>
          <pc:sldMk cId="172182327" sldId="2147483438"/>
        </pc:sldMkLst>
      </pc:sldChg>
      <pc:sldChg chg="add del">
        <pc:chgData name="Munarriz Herrador Iñaki" userId="11637121-8aee-420b-9db7-54651cb06796" providerId="ADAL" clId="{00D70542-70E1-4C27-9556-C3FD05DC72C1}" dt="2025-09-05T09:13:10.018" v="1017" actId="47"/>
        <pc:sldMkLst>
          <pc:docMk/>
          <pc:sldMk cId="1371904559" sldId="2147483438"/>
        </pc:sldMkLst>
      </pc:sldChg>
      <pc:sldChg chg="addSp delSp modSp add mod">
        <pc:chgData name="Munarriz Herrador Iñaki" userId="11637121-8aee-420b-9db7-54651cb06796" providerId="ADAL" clId="{00D70542-70E1-4C27-9556-C3FD05DC72C1}" dt="2025-09-05T09:38:33.370" v="1616" actId="1038"/>
        <pc:sldMkLst>
          <pc:docMk/>
          <pc:sldMk cId="4268494378" sldId="2147483439"/>
        </pc:sldMkLst>
        <pc:spChg chg="mod">
          <ac:chgData name="Munarriz Herrador Iñaki" userId="11637121-8aee-420b-9db7-54651cb06796" providerId="ADAL" clId="{00D70542-70E1-4C27-9556-C3FD05DC72C1}" dt="2025-09-05T09:32:18.585" v="1314" actId="20577"/>
          <ac:spMkLst>
            <pc:docMk/>
            <pc:sldMk cId="4268494378" sldId="2147483439"/>
            <ac:spMk id="2" creationId="{388F98E0-5EA2-5F88-AD00-B835324CBAFE}"/>
          </ac:spMkLst>
        </pc:spChg>
        <pc:spChg chg="add mod">
          <ac:chgData name="Munarriz Herrador Iñaki" userId="11637121-8aee-420b-9db7-54651cb06796" providerId="ADAL" clId="{00D70542-70E1-4C27-9556-C3FD05DC72C1}" dt="2025-09-05T09:38:26.473" v="1592" actId="164"/>
          <ac:spMkLst>
            <pc:docMk/>
            <pc:sldMk cId="4268494378" sldId="2147483439"/>
            <ac:spMk id="3" creationId="{5AA36A53-C199-9AB0-5222-FB1C3A8F8AFA}"/>
          </ac:spMkLst>
        </pc:spChg>
        <pc:spChg chg="add mod">
          <ac:chgData name="Munarriz Herrador Iñaki" userId="11637121-8aee-420b-9db7-54651cb06796" providerId="ADAL" clId="{00D70542-70E1-4C27-9556-C3FD05DC72C1}" dt="2025-09-05T09:38:26.473" v="1592" actId="164"/>
          <ac:spMkLst>
            <pc:docMk/>
            <pc:sldMk cId="4268494378" sldId="2147483439"/>
            <ac:spMk id="4" creationId="{94E6CF34-89A9-9937-121C-02F8B78EBEA8}"/>
          </ac:spMkLst>
        </pc:spChg>
        <pc:spChg chg="add mod ord">
          <ac:chgData name="Munarriz Herrador Iñaki" userId="11637121-8aee-420b-9db7-54651cb06796" providerId="ADAL" clId="{00D70542-70E1-4C27-9556-C3FD05DC72C1}" dt="2025-09-05T09:38:26.473" v="1592" actId="164"/>
          <ac:spMkLst>
            <pc:docMk/>
            <pc:sldMk cId="4268494378" sldId="2147483439"/>
            <ac:spMk id="5" creationId="{04234955-5664-8B75-BCF9-4ED4E07D97FA}"/>
          </ac:spMkLst>
        </pc:spChg>
        <pc:spChg chg="mod">
          <ac:chgData name="Munarriz Herrador Iñaki" userId="11637121-8aee-420b-9db7-54651cb06796" providerId="ADAL" clId="{00D70542-70E1-4C27-9556-C3FD05DC72C1}" dt="2025-09-05T09:36:39.199" v="1488" actId="14100"/>
          <ac:spMkLst>
            <pc:docMk/>
            <pc:sldMk cId="4268494378" sldId="2147483439"/>
            <ac:spMk id="9" creationId="{C1FEC671-243A-3AE8-1874-16879E1B003A}"/>
          </ac:spMkLst>
        </pc:spChg>
        <pc:spChg chg="mod">
          <ac:chgData name="Munarriz Herrador Iñaki" userId="11637121-8aee-420b-9db7-54651cb06796" providerId="ADAL" clId="{00D70542-70E1-4C27-9556-C3FD05DC72C1}" dt="2025-09-05T09:36:46.983" v="1518" actId="1035"/>
          <ac:spMkLst>
            <pc:docMk/>
            <pc:sldMk cId="4268494378" sldId="2147483439"/>
            <ac:spMk id="11" creationId="{ABEB3DA6-F7CA-7195-9553-52510A293BE9}"/>
          </ac:spMkLst>
        </pc:spChg>
        <pc:spChg chg="mod">
          <ac:chgData name="Munarriz Herrador Iñaki" userId="11637121-8aee-420b-9db7-54651cb06796" providerId="ADAL" clId="{00D70542-70E1-4C27-9556-C3FD05DC72C1}" dt="2025-09-05T09:36:57.814" v="1559" actId="20577"/>
          <ac:spMkLst>
            <pc:docMk/>
            <pc:sldMk cId="4268494378" sldId="2147483439"/>
            <ac:spMk id="13" creationId="{EC15F622-2D66-85A4-94B9-5D204F7B2DAC}"/>
          </ac:spMkLst>
        </pc:spChg>
        <pc:spChg chg="mod">
          <ac:chgData name="Munarriz Herrador Iñaki" userId="11637121-8aee-420b-9db7-54651cb06796" providerId="ADAL" clId="{00D70542-70E1-4C27-9556-C3FD05DC72C1}" dt="2025-09-05T09:36:01.401" v="1421" actId="12788"/>
          <ac:spMkLst>
            <pc:docMk/>
            <pc:sldMk cId="4268494378" sldId="2147483439"/>
            <ac:spMk id="41" creationId="{192A7B75-EA34-3807-D062-882C97B86E19}"/>
          </ac:spMkLst>
        </pc:spChg>
        <pc:spChg chg="mod">
          <ac:chgData name="Munarriz Herrador Iñaki" userId="11637121-8aee-420b-9db7-54651cb06796" providerId="ADAL" clId="{00D70542-70E1-4C27-9556-C3FD05DC72C1}" dt="2025-09-05T09:36:01.401" v="1421" actId="12788"/>
          <ac:spMkLst>
            <pc:docMk/>
            <pc:sldMk cId="4268494378" sldId="2147483439"/>
            <ac:spMk id="42" creationId="{2EFB7AFC-48DC-A5B6-088C-B708BE151F90}"/>
          </ac:spMkLst>
        </pc:spChg>
        <pc:grpChg chg="add mod">
          <ac:chgData name="Munarriz Herrador Iñaki" userId="11637121-8aee-420b-9db7-54651cb06796" providerId="ADAL" clId="{00D70542-70E1-4C27-9556-C3FD05DC72C1}" dt="2025-09-05T09:38:33.370" v="1616" actId="1038"/>
          <ac:grpSpMkLst>
            <pc:docMk/>
            <pc:sldMk cId="4268494378" sldId="2147483439"/>
            <ac:grpSpMk id="7" creationId="{BCADB75D-C5AE-FDFB-D731-182430AB8756}"/>
          </ac:grpSpMkLst>
        </pc:grpChg>
        <pc:grpChg chg="add mod">
          <ac:chgData name="Munarriz Herrador Iñaki" userId="11637121-8aee-420b-9db7-54651cb06796" providerId="ADAL" clId="{00D70542-70E1-4C27-9556-C3FD05DC72C1}" dt="2025-09-05T09:38:33.370" v="1616" actId="1038"/>
          <ac:grpSpMkLst>
            <pc:docMk/>
            <pc:sldMk cId="4268494378" sldId="2147483439"/>
            <ac:grpSpMk id="14" creationId="{54E58C17-EF45-16E0-9630-9CF86BBCC2EB}"/>
          </ac:grpSpMkLst>
        </pc:grpChg>
        <pc:grpChg chg="mod topLvl">
          <ac:chgData name="Munarriz Herrador Iñaki" userId="11637121-8aee-420b-9db7-54651cb06796" providerId="ADAL" clId="{00D70542-70E1-4C27-9556-C3FD05DC72C1}" dt="2025-09-05T09:38:26.473" v="1592" actId="164"/>
          <ac:grpSpMkLst>
            <pc:docMk/>
            <pc:sldMk cId="4268494378" sldId="2147483439"/>
            <ac:grpSpMk id="37" creationId="{EFBD00E0-3E68-4076-A369-1432552D07DA}"/>
          </ac:grpSpMkLst>
        </pc:grpChg>
      </pc:sldChg>
      <pc:sldChg chg="addSp delSp modSp add mod">
        <pc:chgData name="Munarriz Herrador Iñaki" userId="11637121-8aee-420b-9db7-54651cb06796" providerId="ADAL" clId="{00D70542-70E1-4C27-9556-C3FD05DC72C1}" dt="2025-09-08T14:19:58.714" v="1918" actId="1076"/>
        <pc:sldMkLst>
          <pc:docMk/>
          <pc:sldMk cId="426819747" sldId="2147483440"/>
        </pc:sldMkLst>
        <pc:spChg chg="add mod">
          <ac:chgData name="Munarriz Herrador Iñaki" userId="11637121-8aee-420b-9db7-54651cb06796" providerId="ADAL" clId="{00D70542-70E1-4C27-9556-C3FD05DC72C1}" dt="2025-09-08T14:19:31.245" v="1911" actId="1035"/>
          <ac:spMkLst>
            <pc:docMk/>
            <pc:sldMk cId="426819747" sldId="2147483440"/>
            <ac:spMk id="11" creationId="{98739FC6-534D-55D6-37CA-2431ECA01111}"/>
          </ac:spMkLst>
        </pc:spChg>
        <pc:spChg chg="add mod">
          <ac:chgData name="Munarriz Herrador Iñaki" userId="11637121-8aee-420b-9db7-54651cb06796" providerId="ADAL" clId="{00D70542-70E1-4C27-9556-C3FD05DC72C1}" dt="2025-09-08T14:19:31.245" v="1911" actId="1035"/>
          <ac:spMkLst>
            <pc:docMk/>
            <pc:sldMk cId="426819747" sldId="2147483440"/>
            <ac:spMk id="12" creationId="{46D347F6-BE4A-1A6C-62B8-DAE23712597A}"/>
          </ac:spMkLst>
        </pc:spChg>
        <pc:picChg chg="del">
          <ac:chgData name="Munarriz Herrador Iñaki" userId="11637121-8aee-420b-9db7-54651cb06796" providerId="ADAL" clId="{00D70542-70E1-4C27-9556-C3FD05DC72C1}" dt="2025-09-08T14:10:30.845" v="1645" actId="478"/>
          <ac:picMkLst>
            <pc:docMk/>
            <pc:sldMk cId="426819747" sldId="2147483440"/>
            <ac:picMk id="4" creationId="{BC9FE6F9-47E5-AB7F-89A6-D0901434CA8F}"/>
          </ac:picMkLst>
        </pc:picChg>
        <pc:picChg chg="add mod modCrop">
          <ac:chgData name="Munarriz Herrador Iñaki" userId="11637121-8aee-420b-9db7-54651cb06796" providerId="ADAL" clId="{00D70542-70E1-4C27-9556-C3FD05DC72C1}" dt="2025-09-08T14:19:53.961" v="1917" actId="732"/>
          <ac:picMkLst>
            <pc:docMk/>
            <pc:sldMk cId="426819747" sldId="2147483440"/>
            <ac:picMk id="5" creationId="{6286862D-B47F-9C9C-DB2B-E18346F3B7A1}"/>
          </ac:picMkLst>
        </pc:picChg>
        <pc:picChg chg="del">
          <ac:chgData name="Munarriz Herrador Iñaki" userId="11637121-8aee-420b-9db7-54651cb06796" providerId="ADAL" clId="{00D70542-70E1-4C27-9556-C3FD05DC72C1}" dt="2025-09-08T14:10:29.759" v="1643" actId="478"/>
          <ac:picMkLst>
            <pc:docMk/>
            <pc:sldMk cId="426819747" sldId="2147483440"/>
            <ac:picMk id="6" creationId="{6997BF50-3313-9002-0C03-35290586E7F1}"/>
          </ac:picMkLst>
        </pc:picChg>
        <pc:picChg chg="del">
          <ac:chgData name="Munarriz Herrador Iñaki" userId="11637121-8aee-420b-9db7-54651cb06796" providerId="ADAL" clId="{00D70542-70E1-4C27-9556-C3FD05DC72C1}" dt="2025-09-08T14:10:31.323" v="1646" actId="478"/>
          <ac:picMkLst>
            <pc:docMk/>
            <pc:sldMk cId="426819747" sldId="2147483440"/>
            <ac:picMk id="8" creationId="{F4D9B1DF-E465-2523-DBCC-B948D79E3F04}"/>
          </ac:picMkLst>
        </pc:picChg>
        <pc:picChg chg="add mod modCrop">
          <ac:chgData name="Munarriz Herrador Iñaki" userId="11637121-8aee-420b-9db7-54651cb06796" providerId="ADAL" clId="{00D70542-70E1-4C27-9556-C3FD05DC72C1}" dt="2025-09-08T14:19:58.714" v="1918" actId="1076"/>
          <ac:picMkLst>
            <pc:docMk/>
            <pc:sldMk cId="426819747" sldId="2147483440"/>
            <ac:picMk id="9" creationId="{20707730-3B0E-8957-191A-74D5FE9668C3}"/>
          </ac:picMkLst>
        </pc:picChg>
        <pc:picChg chg="del">
          <ac:chgData name="Munarriz Herrador Iñaki" userId="11637121-8aee-420b-9db7-54651cb06796" providerId="ADAL" clId="{00D70542-70E1-4C27-9556-C3FD05DC72C1}" dt="2025-09-08T14:10:30.312" v="1644" actId="478"/>
          <ac:picMkLst>
            <pc:docMk/>
            <pc:sldMk cId="426819747" sldId="2147483440"/>
            <ac:picMk id="10" creationId="{ACC77185-4E2A-7D9F-04E5-168D0F89DB1D}"/>
          </ac:picMkLst>
        </pc:picChg>
      </pc:sldChg>
      <pc:sldChg chg="delSp modSp add mod">
        <pc:chgData name="Munarriz Herrador Iñaki" userId="11637121-8aee-420b-9db7-54651cb06796" providerId="ADAL" clId="{00D70542-70E1-4C27-9556-C3FD05DC72C1}" dt="2025-09-08T14:20:08.634" v="1919" actId="732"/>
        <pc:sldMkLst>
          <pc:docMk/>
          <pc:sldMk cId="441788582" sldId="2147483441"/>
        </pc:sldMkLst>
        <pc:spChg chg="mod">
          <ac:chgData name="Munarriz Herrador Iñaki" userId="11637121-8aee-420b-9db7-54651cb06796" providerId="ADAL" clId="{00D70542-70E1-4C27-9556-C3FD05DC72C1}" dt="2025-09-08T14:14:58.147" v="1727" actId="20577"/>
          <ac:spMkLst>
            <pc:docMk/>
            <pc:sldMk cId="441788582" sldId="2147483441"/>
            <ac:spMk id="2" creationId="{D8DECDF2-E157-ECF6-64F6-9598B2BF59CC}"/>
          </ac:spMkLst>
        </pc:spChg>
        <pc:spChg chg="mod">
          <ac:chgData name="Munarriz Herrador Iñaki" userId="11637121-8aee-420b-9db7-54651cb06796" providerId="ADAL" clId="{00D70542-70E1-4C27-9556-C3FD05DC72C1}" dt="2025-09-08T14:15:27.683" v="1778" actId="1035"/>
          <ac:spMkLst>
            <pc:docMk/>
            <pc:sldMk cId="441788582" sldId="2147483441"/>
            <ac:spMk id="11" creationId="{C2F143EA-511F-7514-9A2F-33F470E9354D}"/>
          </ac:spMkLst>
        </pc:spChg>
        <pc:spChg chg="mod">
          <ac:chgData name="Munarriz Herrador Iñaki" userId="11637121-8aee-420b-9db7-54651cb06796" providerId="ADAL" clId="{00D70542-70E1-4C27-9556-C3FD05DC72C1}" dt="2025-09-08T14:17:12.551" v="1826" actId="20577"/>
          <ac:spMkLst>
            <pc:docMk/>
            <pc:sldMk cId="441788582" sldId="2147483441"/>
            <ac:spMk id="12" creationId="{35CC4608-95DC-5173-BAEE-088B919F4A04}"/>
          </ac:spMkLst>
        </pc:spChg>
        <pc:picChg chg="del">
          <ac:chgData name="Munarriz Herrador Iñaki" userId="11637121-8aee-420b-9db7-54651cb06796" providerId="ADAL" clId="{00D70542-70E1-4C27-9556-C3FD05DC72C1}" dt="2025-09-08T14:15:04.293" v="1730" actId="478"/>
          <ac:picMkLst>
            <pc:docMk/>
            <pc:sldMk cId="441788582" sldId="2147483441"/>
            <ac:picMk id="4" creationId="{3E242161-D7E9-1678-C2BF-BD91716A9619}"/>
          </ac:picMkLst>
        </pc:picChg>
        <pc:picChg chg="del">
          <ac:chgData name="Munarriz Herrador Iñaki" userId="11637121-8aee-420b-9db7-54651cb06796" providerId="ADAL" clId="{00D70542-70E1-4C27-9556-C3FD05DC72C1}" dt="2025-09-08T14:15:03.837" v="1729" actId="478"/>
          <ac:picMkLst>
            <pc:docMk/>
            <pc:sldMk cId="441788582" sldId="2147483441"/>
            <ac:picMk id="6" creationId="{D35AE2ED-4C50-3325-4D77-844C25A659CF}"/>
          </ac:picMkLst>
        </pc:picChg>
        <pc:picChg chg="del">
          <ac:chgData name="Munarriz Herrador Iñaki" userId="11637121-8aee-420b-9db7-54651cb06796" providerId="ADAL" clId="{00D70542-70E1-4C27-9556-C3FD05DC72C1}" dt="2025-09-08T14:15:03.230" v="1728" actId="478"/>
          <ac:picMkLst>
            <pc:docMk/>
            <pc:sldMk cId="441788582" sldId="2147483441"/>
            <ac:picMk id="8" creationId="{C10B4778-F543-1DE7-68DD-06A04A6CCD2D}"/>
          </ac:picMkLst>
        </pc:picChg>
        <pc:picChg chg="mod modCrop">
          <ac:chgData name="Munarriz Herrador Iñaki" userId="11637121-8aee-420b-9db7-54651cb06796" providerId="ADAL" clId="{00D70542-70E1-4C27-9556-C3FD05DC72C1}" dt="2025-09-08T14:20:08.634" v="1919" actId="732"/>
          <ac:picMkLst>
            <pc:docMk/>
            <pc:sldMk cId="441788582" sldId="2147483441"/>
            <ac:picMk id="10" creationId="{7D45512D-8B67-BBF7-7CAD-2F53BEFE25F2}"/>
          </ac:picMkLst>
        </pc:picChg>
      </pc:sldChg>
      <pc:sldChg chg="addSp delSp modSp add mod">
        <pc:chgData name="Munarriz Herrador Iñaki" userId="11637121-8aee-420b-9db7-54651cb06796" providerId="ADAL" clId="{00D70542-70E1-4C27-9556-C3FD05DC72C1}" dt="2025-09-08T14:37:17.690" v="2115" actId="115"/>
        <pc:sldMkLst>
          <pc:docMk/>
          <pc:sldMk cId="1596710086" sldId="2147483442"/>
        </pc:sldMkLst>
        <pc:spChg chg="mod">
          <ac:chgData name="Munarriz Herrador Iñaki" userId="11637121-8aee-420b-9db7-54651cb06796" providerId="ADAL" clId="{00D70542-70E1-4C27-9556-C3FD05DC72C1}" dt="2025-09-08T14:21:56.721" v="1955" actId="20577"/>
          <ac:spMkLst>
            <pc:docMk/>
            <pc:sldMk cId="1596710086" sldId="2147483442"/>
            <ac:spMk id="2" creationId="{F702CF72-4662-11FE-00D9-9EDDF4DF82A0}"/>
          </ac:spMkLst>
        </pc:spChg>
        <pc:spChg chg="add mod">
          <ac:chgData name="Munarriz Herrador Iñaki" userId="11637121-8aee-420b-9db7-54651cb06796" providerId="ADAL" clId="{00D70542-70E1-4C27-9556-C3FD05DC72C1}" dt="2025-09-08T14:36:30.993" v="2109" actId="1036"/>
          <ac:spMkLst>
            <pc:docMk/>
            <pc:sldMk cId="1596710086" sldId="2147483442"/>
            <ac:spMk id="3" creationId="{AA8C2CB3-27F3-5515-D10C-9D970839CA40}"/>
          </ac:spMkLst>
        </pc:spChg>
        <pc:spChg chg="del">
          <ac:chgData name="Munarriz Herrador Iñaki" userId="11637121-8aee-420b-9db7-54651cb06796" providerId="ADAL" clId="{00D70542-70E1-4C27-9556-C3FD05DC72C1}" dt="2025-09-08T14:22:00.507" v="1956" actId="478"/>
          <ac:spMkLst>
            <pc:docMk/>
            <pc:sldMk cId="1596710086" sldId="2147483442"/>
            <ac:spMk id="4" creationId="{926DF6CF-E9F0-C6F5-06DF-915C49921B0D}"/>
          </ac:spMkLst>
        </pc:spChg>
        <pc:spChg chg="mod">
          <ac:chgData name="Munarriz Herrador Iñaki" userId="11637121-8aee-420b-9db7-54651cb06796" providerId="ADAL" clId="{00D70542-70E1-4C27-9556-C3FD05DC72C1}" dt="2025-09-08T14:35:02.952" v="1991" actId="14100"/>
          <ac:spMkLst>
            <pc:docMk/>
            <pc:sldMk cId="1596710086" sldId="2147483442"/>
            <ac:spMk id="6" creationId="{0730212F-C31C-6B25-1665-57A36542F0DD}"/>
          </ac:spMkLst>
        </pc:spChg>
        <pc:spChg chg="add mod">
          <ac:chgData name="Munarriz Herrador Iñaki" userId="11637121-8aee-420b-9db7-54651cb06796" providerId="ADAL" clId="{00D70542-70E1-4C27-9556-C3FD05DC72C1}" dt="2025-09-08T14:37:17.690" v="2115" actId="115"/>
          <ac:spMkLst>
            <pc:docMk/>
            <pc:sldMk cId="1596710086" sldId="2147483442"/>
            <ac:spMk id="8" creationId="{3FB40CF3-A328-018E-0D39-1F8C5EC11923}"/>
          </ac:spMkLst>
        </pc:spChg>
        <pc:picChg chg="add mod">
          <ac:chgData name="Munarriz Herrador Iñaki" userId="11637121-8aee-420b-9db7-54651cb06796" providerId="ADAL" clId="{00D70542-70E1-4C27-9556-C3FD05DC72C1}" dt="2025-09-08T14:36:22.265" v="2090" actId="1036"/>
          <ac:picMkLst>
            <pc:docMk/>
            <pc:sldMk cId="1596710086" sldId="2147483442"/>
            <ac:picMk id="7" creationId="{F78B644B-8617-6B8D-119D-67FF7241050F}"/>
          </ac:picMkLst>
        </pc:picChg>
        <pc:picChg chg="del">
          <ac:chgData name="Munarriz Herrador Iñaki" userId="11637121-8aee-420b-9db7-54651cb06796" providerId="ADAL" clId="{00D70542-70E1-4C27-9556-C3FD05DC72C1}" dt="2025-09-08T14:22:01.604" v="1957" actId="478"/>
          <ac:picMkLst>
            <pc:docMk/>
            <pc:sldMk cId="1596710086" sldId="2147483442"/>
            <ac:picMk id="5122" creationId="{5E948291-D888-6E56-BD73-F35C300FD0CC}"/>
          </ac:picMkLst>
        </pc:picChg>
      </pc:sldChg>
      <pc:sldChg chg="modSp add mod">
        <pc:chgData name="Munarriz Herrador Iñaki" userId="11637121-8aee-420b-9db7-54651cb06796" providerId="ADAL" clId="{00D70542-70E1-4C27-9556-C3FD05DC72C1}" dt="2025-09-08T16:28:25.365" v="2274" actId="113"/>
        <pc:sldMkLst>
          <pc:docMk/>
          <pc:sldMk cId="1807183687" sldId="2147483443"/>
        </pc:sldMkLst>
        <pc:spChg chg="mod">
          <ac:chgData name="Munarriz Herrador Iñaki" userId="11637121-8aee-420b-9db7-54651cb06796" providerId="ADAL" clId="{00D70542-70E1-4C27-9556-C3FD05DC72C1}" dt="2025-09-08T16:27:08.873" v="2270" actId="20577"/>
          <ac:spMkLst>
            <pc:docMk/>
            <pc:sldMk cId="1807183687" sldId="2147483443"/>
            <ac:spMk id="2" creationId="{4B7B5DC1-1D0F-86F9-38C9-D0D374176BF8}"/>
          </ac:spMkLst>
        </pc:spChg>
        <pc:spChg chg="mod">
          <ac:chgData name="Munarriz Herrador Iñaki" userId="11637121-8aee-420b-9db7-54651cb06796" providerId="ADAL" clId="{00D70542-70E1-4C27-9556-C3FD05DC72C1}" dt="2025-09-08T16:28:25.365" v="2274" actId="113"/>
          <ac:spMkLst>
            <pc:docMk/>
            <pc:sldMk cId="1807183687" sldId="2147483443"/>
            <ac:spMk id="6" creationId="{40D946A2-1DF1-7FB6-2870-3D1FF6982A53}"/>
          </ac:spMkLst>
        </pc:spChg>
      </pc:sldChg>
    </pc:docChg>
  </pc:docChgLst>
  <pc:docChgLst>
    <pc:chgData name="Munarriz Herrador Iñaki" userId="11637121-8aee-420b-9db7-54651cb06796" providerId="ADAL" clId="{C050DCA4-94CC-4AE4-AC4D-7DC423C906C0}"/>
    <pc:docChg chg="undo redo custSel addSld delSld modSld sldOrd modSection">
      <pc:chgData name="Munarriz Herrador Iñaki" userId="11637121-8aee-420b-9db7-54651cb06796" providerId="ADAL" clId="{C050DCA4-94CC-4AE4-AC4D-7DC423C906C0}" dt="2025-03-19T10:07:35.318" v="10650" actId="1076"/>
      <pc:docMkLst>
        <pc:docMk/>
      </pc:docMkLst>
      <pc:sldChg chg="modSp mod">
        <pc:chgData name="Munarriz Herrador Iñaki" userId="11637121-8aee-420b-9db7-54651cb06796" providerId="ADAL" clId="{C050DCA4-94CC-4AE4-AC4D-7DC423C906C0}" dt="2025-02-21T11:11:57.009" v="95" actId="20577"/>
        <pc:sldMkLst>
          <pc:docMk/>
          <pc:sldMk cId="0" sldId="2147483315"/>
        </pc:sldMkLst>
      </pc:sldChg>
      <pc:sldChg chg="del">
        <pc:chgData name="Munarriz Herrador Iñaki" userId="11637121-8aee-420b-9db7-54651cb06796" providerId="ADAL" clId="{C050DCA4-94CC-4AE4-AC4D-7DC423C906C0}" dt="2025-02-26T16:30:21.688" v="6965" actId="47"/>
        <pc:sldMkLst>
          <pc:docMk/>
          <pc:sldMk cId="88093545" sldId="2147483372"/>
        </pc:sldMkLst>
      </pc:sldChg>
      <pc:sldChg chg="addSp delSp modSp mod">
        <pc:chgData name="Munarriz Herrador Iñaki" userId="11637121-8aee-420b-9db7-54651cb06796" providerId="ADAL" clId="{C050DCA4-94CC-4AE4-AC4D-7DC423C906C0}" dt="2025-03-19T10:07:35.318" v="10650" actId="1076"/>
        <pc:sldMkLst>
          <pc:docMk/>
          <pc:sldMk cId="1243781170" sldId="2147483373"/>
        </pc:sldMkLst>
      </pc:sldChg>
      <pc:sldChg chg="del">
        <pc:chgData name="Munarriz Herrador Iñaki" userId="11637121-8aee-420b-9db7-54651cb06796" providerId="ADAL" clId="{C050DCA4-94CC-4AE4-AC4D-7DC423C906C0}" dt="2025-02-26T16:30:36.174" v="6966" actId="47"/>
        <pc:sldMkLst>
          <pc:docMk/>
          <pc:sldMk cId="3267060004" sldId="2147483374"/>
        </pc:sldMkLst>
      </pc:sldChg>
      <pc:sldChg chg="del">
        <pc:chgData name="Munarriz Herrador Iñaki" userId="11637121-8aee-420b-9db7-54651cb06796" providerId="ADAL" clId="{C050DCA4-94CC-4AE4-AC4D-7DC423C906C0}" dt="2025-02-26T16:30:36.174" v="6966" actId="47"/>
        <pc:sldMkLst>
          <pc:docMk/>
          <pc:sldMk cId="61861682" sldId="2147483375"/>
        </pc:sldMkLst>
      </pc:sldChg>
      <pc:sldChg chg="del">
        <pc:chgData name="Munarriz Herrador Iñaki" userId="11637121-8aee-420b-9db7-54651cb06796" providerId="ADAL" clId="{C050DCA4-94CC-4AE4-AC4D-7DC423C906C0}" dt="2025-02-26T16:30:36.174" v="6966" actId="47"/>
        <pc:sldMkLst>
          <pc:docMk/>
          <pc:sldMk cId="3116799561" sldId="2147483378"/>
        </pc:sldMkLst>
      </pc:sldChg>
      <pc:sldChg chg="addSp delSp modSp mod ord">
        <pc:chgData name="Munarriz Herrador Iñaki" userId="11637121-8aee-420b-9db7-54651cb06796" providerId="ADAL" clId="{C050DCA4-94CC-4AE4-AC4D-7DC423C906C0}" dt="2025-02-27T16:42:15.002" v="10184" actId="14100"/>
        <pc:sldMkLst>
          <pc:docMk/>
          <pc:sldMk cId="2818866366" sldId="2147483379"/>
        </pc:sldMkLst>
      </pc:sldChg>
      <pc:sldChg chg="del">
        <pc:chgData name="Munarriz Herrador Iñaki" userId="11637121-8aee-420b-9db7-54651cb06796" providerId="ADAL" clId="{C050DCA4-94CC-4AE4-AC4D-7DC423C906C0}" dt="2025-02-26T16:30:36.174" v="6966" actId="47"/>
        <pc:sldMkLst>
          <pc:docMk/>
          <pc:sldMk cId="2837213026" sldId="2147483380"/>
        </pc:sldMkLst>
      </pc:sldChg>
      <pc:sldChg chg="del">
        <pc:chgData name="Munarriz Herrador Iñaki" userId="11637121-8aee-420b-9db7-54651cb06796" providerId="ADAL" clId="{C050DCA4-94CC-4AE4-AC4D-7DC423C906C0}" dt="2025-02-26T16:30:36.174" v="6966" actId="47"/>
        <pc:sldMkLst>
          <pc:docMk/>
          <pc:sldMk cId="2100245951" sldId="2147483384"/>
        </pc:sldMkLst>
      </pc:sldChg>
      <pc:sldChg chg="del">
        <pc:chgData name="Munarriz Herrador Iñaki" userId="11637121-8aee-420b-9db7-54651cb06796" providerId="ADAL" clId="{C050DCA4-94CC-4AE4-AC4D-7DC423C906C0}" dt="2025-02-26T16:30:36.174" v="6966" actId="47"/>
        <pc:sldMkLst>
          <pc:docMk/>
          <pc:sldMk cId="2201393827" sldId="2147483386"/>
        </pc:sldMkLst>
      </pc:sldChg>
      <pc:sldChg chg="del">
        <pc:chgData name="Munarriz Herrador Iñaki" userId="11637121-8aee-420b-9db7-54651cb06796" providerId="ADAL" clId="{C050DCA4-94CC-4AE4-AC4D-7DC423C906C0}" dt="2025-02-26T16:30:36.174" v="6966" actId="47"/>
        <pc:sldMkLst>
          <pc:docMk/>
          <pc:sldMk cId="1177571145" sldId="2147483387"/>
        </pc:sldMkLst>
      </pc:sldChg>
      <pc:sldChg chg="addSp delSp modSp mod ord">
        <pc:chgData name="Munarriz Herrador Iñaki" userId="11637121-8aee-420b-9db7-54651cb06796" providerId="ADAL" clId="{C050DCA4-94CC-4AE4-AC4D-7DC423C906C0}" dt="2025-02-27T16:53:47.082" v="10556" actId="12789"/>
        <pc:sldMkLst>
          <pc:docMk/>
          <pc:sldMk cId="3033939552" sldId="2147483388"/>
        </pc:sldMkLst>
      </pc:sldChg>
      <pc:sldChg chg="addSp delSp modSp add mod">
        <pc:chgData name="Munarriz Herrador Iñaki" userId="11637121-8aee-420b-9db7-54651cb06796" providerId="ADAL" clId="{C050DCA4-94CC-4AE4-AC4D-7DC423C906C0}" dt="2025-02-27T15:59:41.673" v="9334" actId="123"/>
        <pc:sldMkLst>
          <pc:docMk/>
          <pc:sldMk cId="937404720" sldId="2147483389"/>
        </pc:sldMkLst>
      </pc:sldChg>
      <pc:sldChg chg="addSp delSp modSp add mod ord">
        <pc:chgData name="Munarriz Herrador Iñaki" userId="11637121-8aee-420b-9db7-54651cb06796" providerId="ADAL" clId="{C050DCA4-94CC-4AE4-AC4D-7DC423C906C0}" dt="2025-02-27T15:59:53.024" v="9336" actId="123"/>
        <pc:sldMkLst>
          <pc:docMk/>
          <pc:sldMk cId="538967907" sldId="2147483390"/>
        </pc:sldMkLst>
      </pc:sldChg>
      <pc:sldChg chg="addSp delSp modSp add mod">
        <pc:chgData name="Munarriz Herrador Iñaki" userId="11637121-8aee-420b-9db7-54651cb06796" providerId="ADAL" clId="{C050DCA4-94CC-4AE4-AC4D-7DC423C906C0}" dt="2025-02-27T15:59:45.894" v="9335" actId="123"/>
        <pc:sldMkLst>
          <pc:docMk/>
          <pc:sldMk cId="2900280720" sldId="2147483391"/>
        </pc:sldMkLst>
      </pc:sldChg>
      <pc:sldChg chg="addSp delSp modSp add mod">
        <pc:chgData name="Munarriz Herrador Iñaki" userId="11637121-8aee-420b-9db7-54651cb06796" providerId="ADAL" clId="{C050DCA4-94CC-4AE4-AC4D-7DC423C906C0}" dt="2025-02-27T15:59:32.666" v="9332" actId="123"/>
        <pc:sldMkLst>
          <pc:docMk/>
          <pc:sldMk cId="2732855569" sldId="2147483392"/>
        </pc:sldMkLst>
      </pc:sldChg>
      <pc:sldChg chg="addSp delSp modSp add mod">
        <pc:chgData name="Munarriz Herrador Iñaki" userId="11637121-8aee-420b-9db7-54651cb06796" providerId="ADAL" clId="{C050DCA4-94CC-4AE4-AC4D-7DC423C906C0}" dt="2025-02-27T16:21:15.418" v="9598" actId="1035"/>
        <pc:sldMkLst>
          <pc:docMk/>
          <pc:sldMk cId="45361350" sldId="2147483393"/>
        </pc:sldMkLst>
      </pc:sldChg>
      <pc:sldChg chg="add">
        <pc:chgData name="Munarriz Herrador Iñaki" userId="11637121-8aee-420b-9db7-54651cb06796" providerId="ADAL" clId="{C050DCA4-94CC-4AE4-AC4D-7DC423C906C0}" dt="2025-03-19T10:06:38.905" v="10557" actId="2890"/>
        <pc:sldMkLst>
          <pc:docMk/>
          <pc:sldMk cId="2930060632" sldId="2147483394"/>
        </pc:sldMkLst>
      </pc:sldChg>
      <pc:sldMasterChg chg="delSldLayout">
        <pc:chgData name="Munarriz Herrador Iñaki" userId="11637121-8aee-420b-9db7-54651cb06796" providerId="ADAL" clId="{C050DCA4-94CC-4AE4-AC4D-7DC423C906C0}" dt="2025-02-26T16:30:21.688" v="6965" actId="47"/>
        <pc:sldMasterMkLst>
          <pc:docMk/>
          <pc:sldMasterMk cId="3682351262" sldId="2147483732"/>
        </pc:sldMasterMkLst>
        <pc:sldLayoutChg chg="del">
          <pc:chgData name="Munarriz Herrador Iñaki" userId="11637121-8aee-420b-9db7-54651cb06796" providerId="ADAL" clId="{C050DCA4-94CC-4AE4-AC4D-7DC423C906C0}" dt="2025-02-26T16:30:21.688" v="6965" actId="47"/>
          <pc:sldLayoutMkLst>
            <pc:docMk/>
            <pc:sldMasterMk cId="3682351262" sldId="2147483732"/>
            <pc:sldLayoutMk cId="4212811066" sldId="21474838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471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4" y="0"/>
            <a:ext cx="2945659" cy="494710"/>
          </a:xfrm>
          <a:prstGeom prst="rect">
            <a:avLst/>
          </a:prstGeom>
        </p:spPr>
        <p:txBody>
          <a:bodyPr vert="horz" lIns="91440" tIns="45720" rIns="91440" bIns="45720" rtlCol="0"/>
          <a:lstStyle>
            <a:lvl1pPr algn="r">
              <a:defRPr sz="1200"/>
            </a:lvl1pPr>
          </a:lstStyle>
          <a:p>
            <a:fld id="{00D52AEF-820C-47F8-88FF-AC482D41B83D}" type="datetimeFigureOut">
              <a:rPr lang="es-ES" smtClean="0"/>
              <a:t>05/09/2025</a:t>
            </a:fld>
            <a:endParaRPr lang="es-ES"/>
          </a:p>
        </p:txBody>
      </p:sp>
      <p:sp>
        <p:nvSpPr>
          <p:cNvPr id="4" name="Marcador de imagen de diapositiva 3"/>
          <p:cNvSpPr>
            <a:spLocks noGrp="1" noRot="1" noChangeAspect="1"/>
          </p:cNvSpPr>
          <p:nvPr>
            <p:ph type="sldImg" idx="2"/>
          </p:nvPr>
        </p:nvSpPr>
        <p:spPr>
          <a:xfrm>
            <a:off x="439738" y="1231900"/>
            <a:ext cx="5918200" cy="3328988"/>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45107"/>
            <a:ext cx="5438140" cy="388236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365255"/>
            <a:ext cx="2945659" cy="494709"/>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4" y="9365255"/>
            <a:ext cx="2945659" cy="494709"/>
          </a:xfrm>
          <a:prstGeom prst="rect">
            <a:avLst/>
          </a:prstGeom>
        </p:spPr>
        <p:txBody>
          <a:bodyPr vert="horz" lIns="91440" tIns="45720" rIns="91440" bIns="45720" rtlCol="0" anchor="b"/>
          <a:lstStyle>
            <a:lvl1pPr algn="r">
              <a:defRPr sz="1200"/>
            </a:lvl1pPr>
          </a:lstStyle>
          <a:p>
            <a:fld id="{8D50380B-E120-4098-ACE4-02CF6992DFB3}" type="slidenum">
              <a:rPr lang="es-ES" smtClean="0"/>
              <a:t>‹Nº›</a:t>
            </a:fld>
            <a:endParaRPr lang="es-ES"/>
          </a:p>
        </p:txBody>
      </p:sp>
    </p:spTree>
    <p:extLst>
      <p:ext uri="{BB962C8B-B14F-4D97-AF65-F5344CB8AC3E}">
        <p14:creationId xmlns:p14="http://schemas.microsoft.com/office/powerpoint/2010/main" val="3420610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33861-C159-FDD5-453E-71DE6E3C152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95DDF9E-1765-2076-E0E9-27A1886F369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2324492-DA30-F161-14A8-A02515CB2EF9}"/>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24FE6C80-91C2-F0A4-6826-9A1502847CEE}"/>
              </a:ext>
            </a:extLst>
          </p:cNvPr>
          <p:cNvSpPr>
            <a:spLocks noGrp="1"/>
          </p:cNvSpPr>
          <p:nvPr>
            <p:ph type="sldNum" sz="quarter" idx="5"/>
          </p:nvPr>
        </p:nvSpPr>
        <p:spPr/>
        <p:txBody>
          <a:bodyPr/>
          <a:lstStyle/>
          <a:p>
            <a:fld id="{8D50380B-E120-4098-ACE4-02CF6992DFB3}" type="slidenum">
              <a:rPr lang="es-ES" smtClean="0"/>
              <a:t>3</a:t>
            </a:fld>
            <a:endParaRPr lang="es-ES"/>
          </a:p>
        </p:txBody>
      </p:sp>
    </p:spTree>
    <p:extLst>
      <p:ext uri="{BB962C8B-B14F-4D97-AF65-F5344CB8AC3E}">
        <p14:creationId xmlns:p14="http://schemas.microsoft.com/office/powerpoint/2010/main" val="3020100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71DE5-29F5-4071-693B-A9031298534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2D4BA27-98E4-51DE-D2CC-8A2189EDC52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AD4A095-FC3B-B34E-015C-5714F1EDA2D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8FFAD3E-3C37-DCB2-046A-EFA2DB9918E4}"/>
              </a:ext>
            </a:extLst>
          </p:cNvPr>
          <p:cNvSpPr>
            <a:spLocks noGrp="1"/>
          </p:cNvSpPr>
          <p:nvPr>
            <p:ph type="sldNum" sz="quarter" idx="5"/>
          </p:nvPr>
        </p:nvSpPr>
        <p:spPr/>
        <p:txBody>
          <a:bodyPr/>
          <a:lstStyle/>
          <a:p>
            <a:fld id="{8D50380B-E120-4098-ACE4-02CF6992DFB3}" type="slidenum">
              <a:rPr lang="es-ES" smtClean="0"/>
              <a:t>12</a:t>
            </a:fld>
            <a:endParaRPr lang="es-ES"/>
          </a:p>
        </p:txBody>
      </p:sp>
    </p:spTree>
    <p:extLst>
      <p:ext uri="{BB962C8B-B14F-4D97-AF65-F5344CB8AC3E}">
        <p14:creationId xmlns:p14="http://schemas.microsoft.com/office/powerpoint/2010/main" val="3756153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CE0A3-FFD5-07A1-8E51-5B2F0E3577B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A4A4991-E975-4F53-709A-B7540C84BB1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584DF529-C5C9-93B6-DF35-69BD51B056B2}"/>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CB404E8-884D-F1A1-74D8-D2D2BAFDD9AA}"/>
              </a:ext>
            </a:extLst>
          </p:cNvPr>
          <p:cNvSpPr>
            <a:spLocks noGrp="1"/>
          </p:cNvSpPr>
          <p:nvPr>
            <p:ph type="sldNum" sz="quarter" idx="5"/>
          </p:nvPr>
        </p:nvSpPr>
        <p:spPr/>
        <p:txBody>
          <a:bodyPr/>
          <a:lstStyle/>
          <a:p>
            <a:fld id="{8D50380B-E120-4098-ACE4-02CF6992DFB3}" type="slidenum">
              <a:rPr lang="es-ES" smtClean="0"/>
              <a:t>13</a:t>
            </a:fld>
            <a:endParaRPr lang="es-ES"/>
          </a:p>
        </p:txBody>
      </p:sp>
    </p:spTree>
    <p:extLst>
      <p:ext uri="{BB962C8B-B14F-4D97-AF65-F5344CB8AC3E}">
        <p14:creationId xmlns:p14="http://schemas.microsoft.com/office/powerpoint/2010/main" val="3178675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04710-01A0-C5F7-E403-67B7F326D15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6DCD9D-59BA-2A2E-D2F0-79AE9CB79D6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3823B69-7D75-DC73-B3FA-1C2FAD192D06}"/>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E7A5E62-E930-9CA9-BF80-971B851844C5}"/>
              </a:ext>
            </a:extLst>
          </p:cNvPr>
          <p:cNvSpPr>
            <a:spLocks noGrp="1"/>
          </p:cNvSpPr>
          <p:nvPr>
            <p:ph type="sldNum" sz="quarter" idx="5"/>
          </p:nvPr>
        </p:nvSpPr>
        <p:spPr/>
        <p:txBody>
          <a:bodyPr/>
          <a:lstStyle/>
          <a:p>
            <a:fld id="{8D50380B-E120-4098-ACE4-02CF6992DFB3}" type="slidenum">
              <a:rPr lang="es-ES" smtClean="0"/>
              <a:t>14</a:t>
            </a:fld>
            <a:endParaRPr lang="es-ES"/>
          </a:p>
        </p:txBody>
      </p:sp>
    </p:spTree>
    <p:extLst>
      <p:ext uri="{BB962C8B-B14F-4D97-AF65-F5344CB8AC3E}">
        <p14:creationId xmlns:p14="http://schemas.microsoft.com/office/powerpoint/2010/main" val="597525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B522D-CF0F-1A1B-A3E7-CE2F47D3A15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DA12378-720C-E206-742B-ADA95AC976E7}"/>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3C521114-EFB9-2D44-A5CC-92FFB36E48B4}"/>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D40DA7C2-3692-0723-4166-434E123438CE}"/>
              </a:ext>
            </a:extLst>
          </p:cNvPr>
          <p:cNvSpPr>
            <a:spLocks noGrp="1"/>
          </p:cNvSpPr>
          <p:nvPr>
            <p:ph type="sldNum" sz="quarter" idx="5"/>
          </p:nvPr>
        </p:nvSpPr>
        <p:spPr/>
        <p:txBody>
          <a:bodyPr/>
          <a:lstStyle/>
          <a:p>
            <a:fld id="{8D50380B-E120-4098-ACE4-02CF6992DFB3}" type="slidenum">
              <a:rPr lang="es-ES" smtClean="0"/>
              <a:t>15</a:t>
            </a:fld>
            <a:endParaRPr lang="es-ES"/>
          </a:p>
        </p:txBody>
      </p:sp>
    </p:spTree>
    <p:extLst>
      <p:ext uri="{BB962C8B-B14F-4D97-AF65-F5344CB8AC3E}">
        <p14:creationId xmlns:p14="http://schemas.microsoft.com/office/powerpoint/2010/main" val="2210195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D4BE7-0A5B-A18A-AC8C-3CBE8AAB594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EFE62CD-C941-22B2-8F71-F942B507F905}"/>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44950577-A46A-4DAA-AAB6-4E0F4DA9BF06}"/>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A985BD7-E81A-A7C0-9397-DAD907DEE1A7}"/>
              </a:ext>
            </a:extLst>
          </p:cNvPr>
          <p:cNvSpPr>
            <a:spLocks noGrp="1"/>
          </p:cNvSpPr>
          <p:nvPr>
            <p:ph type="sldNum" sz="quarter" idx="5"/>
          </p:nvPr>
        </p:nvSpPr>
        <p:spPr/>
        <p:txBody>
          <a:bodyPr/>
          <a:lstStyle/>
          <a:p>
            <a:fld id="{8D50380B-E120-4098-ACE4-02CF6992DFB3}" type="slidenum">
              <a:rPr lang="es-ES" smtClean="0"/>
              <a:t>16</a:t>
            </a:fld>
            <a:endParaRPr lang="es-ES"/>
          </a:p>
        </p:txBody>
      </p:sp>
    </p:spTree>
    <p:extLst>
      <p:ext uri="{BB962C8B-B14F-4D97-AF65-F5344CB8AC3E}">
        <p14:creationId xmlns:p14="http://schemas.microsoft.com/office/powerpoint/2010/main" val="565644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A53A0-F84D-391A-B90C-795DC13A98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396040-D03F-2F90-D53C-4F8099ED8619}"/>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5A68D204-5CF7-0838-5AC7-A7385CF66980}"/>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3C19B69-58C9-C0F8-199C-CC53C11DC6F3}"/>
              </a:ext>
            </a:extLst>
          </p:cNvPr>
          <p:cNvSpPr>
            <a:spLocks noGrp="1"/>
          </p:cNvSpPr>
          <p:nvPr>
            <p:ph type="sldNum" sz="quarter" idx="5"/>
          </p:nvPr>
        </p:nvSpPr>
        <p:spPr/>
        <p:txBody>
          <a:bodyPr/>
          <a:lstStyle/>
          <a:p>
            <a:fld id="{8D50380B-E120-4098-ACE4-02CF6992DFB3}" type="slidenum">
              <a:rPr lang="es-ES" smtClean="0"/>
              <a:t>17</a:t>
            </a:fld>
            <a:endParaRPr lang="es-ES"/>
          </a:p>
        </p:txBody>
      </p:sp>
    </p:spTree>
    <p:extLst>
      <p:ext uri="{BB962C8B-B14F-4D97-AF65-F5344CB8AC3E}">
        <p14:creationId xmlns:p14="http://schemas.microsoft.com/office/powerpoint/2010/main" val="591298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AFA0A-F947-96C7-412C-5B3E1577B24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E330DFF-95CF-DA71-6B6D-DBDA27F673A1}"/>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524C9E0D-6268-781B-E3FA-39999A43FA45}"/>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D0039A10-24A7-FE40-F853-95B2F9C30033}"/>
              </a:ext>
            </a:extLst>
          </p:cNvPr>
          <p:cNvSpPr>
            <a:spLocks noGrp="1"/>
          </p:cNvSpPr>
          <p:nvPr>
            <p:ph type="sldNum" sz="quarter" idx="5"/>
          </p:nvPr>
        </p:nvSpPr>
        <p:spPr/>
        <p:txBody>
          <a:bodyPr/>
          <a:lstStyle/>
          <a:p>
            <a:fld id="{8D50380B-E120-4098-ACE4-02CF6992DFB3}" type="slidenum">
              <a:rPr lang="es-ES" smtClean="0"/>
              <a:t>18</a:t>
            </a:fld>
            <a:endParaRPr lang="es-ES"/>
          </a:p>
        </p:txBody>
      </p:sp>
    </p:spTree>
    <p:extLst>
      <p:ext uri="{BB962C8B-B14F-4D97-AF65-F5344CB8AC3E}">
        <p14:creationId xmlns:p14="http://schemas.microsoft.com/office/powerpoint/2010/main" val="4284764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D8C7F-3C8F-89F3-6A9C-3EAB1DD3FDA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CA94E20-4C6F-D02C-4DC9-6E649F33AD00}"/>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0257C7A-A802-21E0-7D14-A285AF451FB2}"/>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6E8ACAF1-34BB-9053-DB90-C6D6FA72E806}"/>
              </a:ext>
            </a:extLst>
          </p:cNvPr>
          <p:cNvSpPr>
            <a:spLocks noGrp="1"/>
          </p:cNvSpPr>
          <p:nvPr>
            <p:ph type="sldNum" sz="quarter" idx="5"/>
          </p:nvPr>
        </p:nvSpPr>
        <p:spPr/>
        <p:txBody>
          <a:bodyPr/>
          <a:lstStyle/>
          <a:p>
            <a:fld id="{8D50380B-E120-4098-ACE4-02CF6992DFB3}" type="slidenum">
              <a:rPr lang="es-ES" smtClean="0"/>
              <a:t>19</a:t>
            </a:fld>
            <a:endParaRPr lang="es-ES"/>
          </a:p>
        </p:txBody>
      </p:sp>
    </p:spTree>
    <p:extLst>
      <p:ext uri="{BB962C8B-B14F-4D97-AF65-F5344CB8AC3E}">
        <p14:creationId xmlns:p14="http://schemas.microsoft.com/office/powerpoint/2010/main" val="808848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958B6-8070-B19A-E5FC-34F4AEFDE76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506B679-1159-2EF0-5505-E13C96751D55}"/>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AC1143F2-B08D-366D-082C-2527A52360CC}"/>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384AC874-6C4F-7961-80FB-33A712C6BE10}"/>
              </a:ext>
            </a:extLst>
          </p:cNvPr>
          <p:cNvSpPr>
            <a:spLocks noGrp="1"/>
          </p:cNvSpPr>
          <p:nvPr>
            <p:ph type="sldNum" sz="quarter" idx="5"/>
          </p:nvPr>
        </p:nvSpPr>
        <p:spPr/>
        <p:txBody>
          <a:bodyPr/>
          <a:lstStyle/>
          <a:p>
            <a:fld id="{8D50380B-E120-4098-ACE4-02CF6992DFB3}" type="slidenum">
              <a:rPr lang="es-ES" smtClean="0"/>
              <a:t>20</a:t>
            </a:fld>
            <a:endParaRPr lang="es-ES"/>
          </a:p>
        </p:txBody>
      </p:sp>
    </p:spTree>
    <p:extLst>
      <p:ext uri="{BB962C8B-B14F-4D97-AF65-F5344CB8AC3E}">
        <p14:creationId xmlns:p14="http://schemas.microsoft.com/office/powerpoint/2010/main" val="1690458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6AD0A-7457-7989-FEAD-267A0A00848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8332A92-AB7A-92A3-DACB-706027BADD90}"/>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D05ED08-5DAB-0268-433D-D1446A032763}"/>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640A6D4-0F48-66D4-5AA0-7208C456C7F8}"/>
              </a:ext>
            </a:extLst>
          </p:cNvPr>
          <p:cNvSpPr>
            <a:spLocks noGrp="1"/>
          </p:cNvSpPr>
          <p:nvPr>
            <p:ph type="sldNum" sz="quarter" idx="5"/>
          </p:nvPr>
        </p:nvSpPr>
        <p:spPr/>
        <p:txBody>
          <a:bodyPr/>
          <a:lstStyle/>
          <a:p>
            <a:fld id="{8D50380B-E120-4098-ACE4-02CF6992DFB3}" type="slidenum">
              <a:rPr lang="es-ES" smtClean="0"/>
              <a:t>21</a:t>
            </a:fld>
            <a:endParaRPr lang="es-ES"/>
          </a:p>
        </p:txBody>
      </p:sp>
    </p:spTree>
    <p:extLst>
      <p:ext uri="{BB962C8B-B14F-4D97-AF65-F5344CB8AC3E}">
        <p14:creationId xmlns:p14="http://schemas.microsoft.com/office/powerpoint/2010/main" val="2839695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C1E120-F7D4-1545-3587-F4C60547528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F3C37A-018D-8B4E-B0AB-2BCB10F6F981}"/>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78214C3-7041-8493-8026-D17C51F917AA}"/>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40F64B5C-E700-E200-C618-6A9630702E52}"/>
              </a:ext>
            </a:extLst>
          </p:cNvPr>
          <p:cNvSpPr>
            <a:spLocks noGrp="1"/>
          </p:cNvSpPr>
          <p:nvPr>
            <p:ph type="sldNum" sz="quarter" idx="5"/>
          </p:nvPr>
        </p:nvSpPr>
        <p:spPr/>
        <p:txBody>
          <a:bodyPr/>
          <a:lstStyle/>
          <a:p>
            <a:fld id="{8D50380B-E120-4098-ACE4-02CF6992DFB3}" type="slidenum">
              <a:rPr lang="es-ES" smtClean="0"/>
              <a:t>4</a:t>
            </a:fld>
            <a:endParaRPr lang="es-ES"/>
          </a:p>
        </p:txBody>
      </p:sp>
    </p:spTree>
    <p:extLst>
      <p:ext uri="{BB962C8B-B14F-4D97-AF65-F5344CB8AC3E}">
        <p14:creationId xmlns:p14="http://schemas.microsoft.com/office/powerpoint/2010/main" val="21236091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C5D-21BC-6E80-B03A-CFE9082634C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E8DE02-C52D-3C1C-E31B-98CC97A1227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9F910C8-328C-1649-FB7A-6924CE7B0E21}"/>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96C1DA2-113F-83A0-4DFC-4C6AD16E0A47}"/>
              </a:ext>
            </a:extLst>
          </p:cNvPr>
          <p:cNvSpPr>
            <a:spLocks noGrp="1"/>
          </p:cNvSpPr>
          <p:nvPr>
            <p:ph type="sldNum" sz="quarter" idx="5"/>
          </p:nvPr>
        </p:nvSpPr>
        <p:spPr/>
        <p:txBody>
          <a:bodyPr/>
          <a:lstStyle/>
          <a:p>
            <a:fld id="{8D50380B-E120-4098-ACE4-02CF6992DFB3}" type="slidenum">
              <a:rPr lang="es-ES" smtClean="0"/>
              <a:t>22</a:t>
            </a:fld>
            <a:endParaRPr lang="es-ES"/>
          </a:p>
        </p:txBody>
      </p:sp>
    </p:spTree>
    <p:extLst>
      <p:ext uri="{BB962C8B-B14F-4D97-AF65-F5344CB8AC3E}">
        <p14:creationId xmlns:p14="http://schemas.microsoft.com/office/powerpoint/2010/main" val="3368268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029F1-DED2-7249-19DD-67D34C78DC7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357D227-8DE9-4066-F0FD-445CF56BEFA6}"/>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7C606424-6FEE-78DB-8E22-3A8A9E5E0A5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477C32FD-D635-7B97-B815-4309419FA745}"/>
              </a:ext>
            </a:extLst>
          </p:cNvPr>
          <p:cNvSpPr>
            <a:spLocks noGrp="1"/>
          </p:cNvSpPr>
          <p:nvPr>
            <p:ph type="sldNum" sz="quarter" idx="5"/>
          </p:nvPr>
        </p:nvSpPr>
        <p:spPr/>
        <p:txBody>
          <a:bodyPr/>
          <a:lstStyle/>
          <a:p>
            <a:fld id="{8D50380B-E120-4098-ACE4-02CF6992DFB3}" type="slidenum">
              <a:rPr lang="es-ES" smtClean="0"/>
              <a:t>23</a:t>
            </a:fld>
            <a:endParaRPr lang="es-ES"/>
          </a:p>
        </p:txBody>
      </p:sp>
    </p:spTree>
    <p:extLst>
      <p:ext uri="{BB962C8B-B14F-4D97-AF65-F5344CB8AC3E}">
        <p14:creationId xmlns:p14="http://schemas.microsoft.com/office/powerpoint/2010/main" val="3044629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E15D3-A74D-ECB4-D0C5-D60DD7C55D8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DE24894-892B-4F37-274D-F71E96424A99}"/>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8285498-D991-777A-DC18-38F6BEBE121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A668216-8360-6C65-A41B-2F86797E5175}"/>
              </a:ext>
            </a:extLst>
          </p:cNvPr>
          <p:cNvSpPr>
            <a:spLocks noGrp="1"/>
          </p:cNvSpPr>
          <p:nvPr>
            <p:ph type="sldNum" sz="quarter" idx="5"/>
          </p:nvPr>
        </p:nvSpPr>
        <p:spPr/>
        <p:txBody>
          <a:bodyPr/>
          <a:lstStyle/>
          <a:p>
            <a:fld id="{8D50380B-E120-4098-ACE4-02CF6992DFB3}" type="slidenum">
              <a:rPr lang="es-ES" smtClean="0"/>
              <a:t>5</a:t>
            </a:fld>
            <a:endParaRPr lang="es-ES"/>
          </a:p>
        </p:txBody>
      </p:sp>
    </p:spTree>
    <p:extLst>
      <p:ext uri="{BB962C8B-B14F-4D97-AF65-F5344CB8AC3E}">
        <p14:creationId xmlns:p14="http://schemas.microsoft.com/office/powerpoint/2010/main" val="89000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CE95B-B840-D56D-E84D-3B0B71F168E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25D42FD-2311-EF26-99EE-31B3F0AD8D3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B1D91CE-8A81-B6E8-4D17-26215598A6F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0E53E52-7230-1405-F947-66F725B113F3}"/>
              </a:ext>
            </a:extLst>
          </p:cNvPr>
          <p:cNvSpPr>
            <a:spLocks noGrp="1"/>
          </p:cNvSpPr>
          <p:nvPr>
            <p:ph type="sldNum" sz="quarter" idx="5"/>
          </p:nvPr>
        </p:nvSpPr>
        <p:spPr/>
        <p:txBody>
          <a:bodyPr/>
          <a:lstStyle/>
          <a:p>
            <a:fld id="{8D50380B-E120-4098-ACE4-02CF6992DFB3}" type="slidenum">
              <a:rPr lang="es-ES" smtClean="0"/>
              <a:t>6</a:t>
            </a:fld>
            <a:endParaRPr lang="es-ES"/>
          </a:p>
        </p:txBody>
      </p:sp>
    </p:spTree>
    <p:extLst>
      <p:ext uri="{BB962C8B-B14F-4D97-AF65-F5344CB8AC3E}">
        <p14:creationId xmlns:p14="http://schemas.microsoft.com/office/powerpoint/2010/main" val="1452972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29C5C-A253-38EF-4BD4-6FC1DB6923E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25BD0B-3FE9-09FF-5FA7-50AA103B5FAC}"/>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EDE0598-C03D-1BC6-0C14-849A62B04FA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89A195A-6F99-3CF2-4F74-8F21C76E1DDB}"/>
              </a:ext>
            </a:extLst>
          </p:cNvPr>
          <p:cNvSpPr>
            <a:spLocks noGrp="1"/>
          </p:cNvSpPr>
          <p:nvPr>
            <p:ph type="sldNum" sz="quarter" idx="5"/>
          </p:nvPr>
        </p:nvSpPr>
        <p:spPr/>
        <p:txBody>
          <a:bodyPr/>
          <a:lstStyle/>
          <a:p>
            <a:fld id="{8D50380B-E120-4098-ACE4-02CF6992DFB3}" type="slidenum">
              <a:rPr lang="es-ES" smtClean="0"/>
              <a:t>7</a:t>
            </a:fld>
            <a:endParaRPr lang="es-ES"/>
          </a:p>
        </p:txBody>
      </p:sp>
    </p:spTree>
    <p:extLst>
      <p:ext uri="{BB962C8B-B14F-4D97-AF65-F5344CB8AC3E}">
        <p14:creationId xmlns:p14="http://schemas.microsoft.com/office/powerpoint/2010/main" val="2551382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651B7-392C-1F48-28AF-CE708AF7A05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793011D-9CD7-42D8-58B8-A2915C776C23}"/>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9A858671-34A4-A3B4-F902-4939791D3297}"/>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8CDE8B49-EAEB-FF0D-51B6-87126055F6CC}"/>
              </a:ext>
            </a:extLst>
          </p:cNvPr>
          <p:cNvSpPr>
            <a:spLocks noGrp="1"/>
          </p:cNvSpPr>
          <p:nvPr>
            <p:ph type="sldNum" sz="quarter" idx="5"/>
          </p:nvPr>
        </p:nvSpPr>
        <p:spPr/>
        <p:txBody>
          <a:bodyPr/>
          <a:lstStyle/>
          <a:p>
            <a:fld id="{8D50380B-E120-4098-ACE4-02CF6992DFB3}" type="slidenum">
              <a:rPr lang="es-ES" smtClean="0"/>
              <a:t>8</a:t>
            </a:fld>
            <a:endParaRPr lang="es-ES"/>
          </a:p>
        </p:txBody>
      </p:sp>
    </p:spTree>
    <p:extLst>
      <p:ext uri="{BB962C8B-B14F-4D97-AF65-F5344CB8AC3E}">
        <p14:creationId xmlns:p14="http://schemas.microsoft.com/office/powerpoint/2010/main" val="2502102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72B97-208B-F954-87E4-EA8810F94D5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6F4337B-F4BA-DEBC-83CA-1B9E4F9DA910}"/>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11EB049-2D16-8484-4F67-6408DCD3A0CC}"/>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6455FE0-F630-6694-D516-FD3F268A2EA0}"/>
              </a:ext>
            </a:extLst>
          </p:cNvPr>
          <p:cNvSpPr>
            <a:spLocks noGrp="1"/>
          </p:cNvSpPr>
          <p:nvPr>
            <p:ph type="sldNum" sz="quarter" idx="5"/>
          </p:nvPr>
        </p:nvSpPr>
        <p:spPr/>
        <p:txBody>
          <a:bodyPr/>
          <a:lstStyle/>
          <a:p>
            <a:fld id="{8D50380B-E120-4098-ACE4-02CF6992DFB3}" type="slidenum">
              <a:rPr lang="es-ES" smtClean="0"/>
              <a:t>9</a:t>
            </a:fld>
            <a:endParaRPr lang="es-ES"/>
          </a:p>
        </p:txBody>
      </p:sp>
    </p:spTree>
    <p:extLst>
      <p:ext uri="{BB962C8B-B14F-4D97-AF65-F5344CB8AC3E}">
        <p14:creationId xmlns:p14="http://schemas.microsoft.com/office/powerpoint/2010/main" val="3000906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2DD83-374A-A6AD-E7AB-D8E04B9862C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CCFF3F0-CE5A-1395-BE71-21F473C5E276}"/>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4EE432F7-4A03-57F5-08A6-590B2C12FFD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FAF7333-23C8-4DF8-FB4F-2E16B86C5281}"/>
              </a:ext>
            </a:extLst>
          </p:cNvPr>
          <p:cNvSpPr>
            <a:spLocks noGrp="1"/>
          </p:cNvSpPr>
          <p:nvPr>
            <p:ph type="sldNum" sz="quarter" idx="5"/>
          </p:nvPr>
        </p:nvSpPr>
        <p:spPr/>
        <p:txBody>
          <a:bodyPr/>
          <a:lstStyle/>
          <a:p>
            <a:fld id="{8D50380B-E120-4098-ACE4-02CF6992DFB3}" type="slidenum">
              <a:rPr lang="es-ES" smtClean="0"/>
              <a:t>10</a:t>
            </a:fld>
            <a:endParaRPr lang="es-ES"/>
          </a:p>
        </p:txBody>
      </p:sp>
    </p:spTree>
    <p:extLst>
      <p:ext uri="{BB962C8B-B14F-4D97-AF65-F5344CB8AC3E}">
        <p14:creationId xmlns:p14="http://schemas.microsoft.com/office/powerpoint/2010/main" val="4141456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7CD86-8D70-6697-CA5A-60EDDA39F18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BA9D689-63B2-3AF1-710A-CDC591C30089}"/>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C3A82AB-1DA9-0D3C-BD53-64BC5C991467}"/>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F1C603E3-D497-3BA1-9EF6-681550767BBD}"/>
              </a:ext>
            </a:extLst>
          </p:cNvPr>
          <p:cNvSpPr>
            <a:spLocks noGrp="1"/>
          </p:cNvSpPr>
          <p:nvPr>
            <p:ph type="sldNum" sz="quarter" idx="5"/>
          </p:nvPr>
        </p:nvSpPr>
        <p:spPr/>
        <p:txBody>
          <a:bodyPr/>
          <a:lstStyle/>
          <a:p>
            <a:fld id="{8D50380B-E120-4098-ACE4-02CF6992DFB3}" type="slidenum">
              <a:rPr lang="es-ES" smtClean="0"/>
              <a:t>11</a:t>
            </a:fld>
            <a:endParaRPr lang="es-ES"/>
          </a:p>
        </p:txBody>
      </p:sp>
    </p:spTree>
    <p:extLst>
      <p:ext uri="{BB962C8B-B14F-4D97-AF65-F5344CB8AC3E}">
        <p14:creationId xmlns:p14="http://schemas.microsoft.com/office/powerpoint/2010/main" val="1570429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01">
    <p:spTree>
      <p:nvGrpSpPr>
        <p:cNvPr id="1" name=""/>
        <p:cNvGrpSpPr/>
        <p:nvPr/>
      </p:nvGrpSpPr>
      <p:grpSpPr>
        <a:xfrm>
          <a:off x="0" y="0"/>
          <a:ext cx="0" cy="0"/>
          <a:chOff x="0" y="0"/>
          <a:chExt cx="0" cy="0"/>
        </a:xfrm>
      </p:grpSpPr>
      <p:pic>
        <p:nvPicPr>
          <p:cNvPr id="11" name="Imagen 10" descr="Persona en bicicleta en la calle&#10;&#10;Descripción generada automáticamente">
            <a:extLst>
              <a:ext uri="{FF2B5EF4-FFF2-40B4-BE49-F238E27FC236}">
                <a16:creationId xmlns:a16="http://schemas.microsoft.com/office/drawing/2014/main" id="{4267E86C-51F4-46D7-B611-7A1D08C948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64675" y="0"/>
            <a:ext cx="801319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7" name="Título 1">
            <a:extLst>
              <a:ext uri="{FF2B5EF4-FFF2-40B4-BE49-F238E27FC236}">
                <a16:creationId xmlns:a16="http://schemas.microsoft.com/office/drawing/2014/main" id="{FBDFF754-EDB8-4E81-BCD5-E07138795009}"/>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8" name="Subtítulo 2">
            <a:extLst>
              <a:ext uri="{FF2B5EF4-FFF2-40B4-BE49-F238E27FC236}">
                <a16:creationId xmlns:a16="http://schemas.microsoft.com/office/drawing/2014/main" id="{A6D070AE-1992-4212-B9A7-D33AB83D5A45}"/>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3" name="Gráfico 12">
            <a:extLst>
              <a:ext uri="{FF2B5EF4-FFF2-40B4-BE49-F238E27FC236}">
                <a16:creationId xmlns:a16="http://schemas.microsoft.com/office/drawing/2014/main" id="{3D412860-04C7-46B9-BE93-8051E5FC02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67805477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dex_05">
    <p:spTree>
      <p:nvGrpSpPr>
        <p:cNvPr id="1" name=""/>
        <p:cNvGrpSpPr/>
        <p:nvPr/>
      </p:nvGrpSpPr>
      <p:grpSpPr>
        <a:xfrm>
          <a:off x="0" y="0"/>
          <a:ext cx="0" cy="0"/>
          <a:chOff x="0" y="0"/>
          <a:chExt cx="0" cy="0"/>
        </a:xfrm>
      </p:grpSpPr>
      <p:pic>
        <p:nvPicPr>
          <p:cNvPr id="4" name="Imagen 3" descr="Una persona hablando por teléfono en la calle&#10;&#10;Descripción generada automáticamente con confianza baja">
            <a:extLst>
              <a:ext uri="{FF2B5EF4-FFF2-40B4-BE49-F238E27FC236}">
                <a16:creationId xmlns:a16="http://schemas.microsoft.com/office/drawing/2014/main" id="{4941AD11-3321-4750-AD4C-93EA9F742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69" y="875626"/>
            <a:ext cx="6226631" cy="5982374"/>
          </a:xfrm>
          <a:prstGeom prst="rect">
            <a:avLst/>
          </a:prstGeom>
        </p:spPr>
      </p:pic>
      <p:cxnSp>
        <p:nvCxnSpPr>
          <p:cNvPr id="3" name="Conector recto 2">
            <a:extLst>
              <a:ext uri="{FF2B5EF4-FFF2-40B4-BE49-F238E27FC236}">
                <a16:creationId xmlns:a16="http://schemas.microsoft.com/office/drawing/2014/main" id="{379A0E88-5C43-43D5-9A31-7B355FD4C632}"/>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E756615C-F2F6-4E87-8FE8-9CE4D51C239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8456"/>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rase_Impact_01">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915027"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93938640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rase_Impact_01 lines">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cxnSp>
        <p:nvCxnSpPr>
          <p:cNvPr id="6" name="Conector recto 5">
            <a:extLst>
              <a:ext uri="{FF2B5EF4-FFF2-40B4-BE49-F238E27FC236}">
                <a16:creationId xmlns:a16="http://schemas.microsoft.com/office/drawing/2014/main" id="{EB20E1A8-28A8-4DD8-95F7-3AF0547DBAC0}"/>
              </a:ext>
            </a:extLst>
          </p:cNvPr>
          <p:cNvCxnSpPr>
            <a:cxnSpLocks/>
          </p:cNvCxnSpPr>
          <p:nvPr userDrawn="1"/>
        </p:nvCxnSpPr>
        <p:spPr>
          <a:xfrm>
            <a:off x="2274570" y="26003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5033C59A-0EF0-4472-BD1A-A1A51660E922}"/>
              </a:ext>
            </a:extLst>
          </p:cNvPr>
          <p:cNvCxnSpPr>
            <a:cxnSpLocks/>
          </p:cNvCxnSpPr>
          <p:nvPr userDrawn="1"/>
        </p:nvCxnSpPr>
        <p:spPr>
          <a:xfrm>
            <a:off x="6106632" y="21491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25BF70F4-0781-44A8-91C3-F85682BB1C98}"/>
              </a:ext>
            </a:extLst>
          </p:cNvPr>
          <p:cNvSpPr>
            <a:spLocks noGrp="1"/>
          </p:cNvSpPr>
          <p:nvPr>
            <p:ph type="body" sz="quarter" idx="48" hasCustomPrompt="1"/>
          </p:nvPr>
        </p:nvSpPr>
        <p:spPr>
          <a:xfrm>
            <a:off x="6298969" y="14282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9" name="Marcador de texto 4">
            <a:extLst>
              <a:ext uri="{FF2B5EF4-FFF2-40B4-BE49-F238E27FC236}">
                <a16:creationId xmlns:a16="http://schemas.microsoft.com/office/drawing/2014/main" id="{E82900D6-E4AB-494C-AAC5-EC6B37620D36}"/>
              </a:ext>
            </a:extLst>
          </p:cNvPr>
          <p:cNvSpPr>
            <a:spLocks noGrp="1"/>
          </p:cNvSpPr>
          <p:nvPr>
            <p:ph type="body" sz="quarter" idx="49" hasCustomPrompt="1"/>
          </p:nvPr>
        </p:nvSpPr>
        <p:spPr>
          <a:xfrm>
            <a:off x="2270719" y="18813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145731557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rase_Impact_02">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81573"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13459913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rase_Impact_02 lines">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089E0271-1DC5-46FF-A5C8-07A126914C9F}"/>
              </a:ext>
            </a:extLst>
          </p:cNvPr>
          <p:cNvCxnSpPr>
            <a:cxnSpLocks/>
          </p:cNvCxnSpPr>
          <p:nvPr userDrawn="1"/>
        </p:nvCxnSpPr>
        <p:spPr>
          <a:xfrm>
            <a:off x="2274570" y="41497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0DF1C767-A900-4681-ABA3-69A761A66323}"/>
              </a:ext>
            </a:extLst>
          </p:cNvPr>
          <p:cNvCxnSpPr>
            <a:cxnSpLocks/>
          </p:cNvCxnSpPr>
          <p:nvPr userDrawn="1"/>
        </p:nvCxnSpPr>
        <p:spPr>
          <a:xfrm>
            <a:off x="6106632" y="36985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Marcador de texto 4">
            <a:extLst>
              <a:ext uri="{FF2B5EF4-FFF2-40B4-BE49-F238E27FC236}">
                <a16:creationId xmlns:a16="http://schemas.microsoft.com/office/drawing/2014/main" id="{031D0E45-B2D2-49E2-A9BA-7B97F1F49619}"/>
              </a:ext>
            </a:extLst>
          </p:cNvPr>
          <p:cNvSpPr>
            <a:spLocks noGrp="1"/>
          </p:cNvSpPr>
          <p:nvPr>
            <p:ph type="body" sz="quarter" idx="48" hasCustomPrompt="1"/>
          </p:nvPr>
        </p:nvSpPr>
        <p:spPr>
          <a:xfrm>
            <a:off x="6298969" y="29776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DCA016D0-3D0E-4F0F-AF8A-E490F196E154}"/>
              </a:ext>
            </a:extLst>
          </p:cNvPr>
          <p:cNvSpPr>
            <a:spLocks noGrp="1"/>
          </p:cNvSpPr>
          <p:nvPr>
            <p:ph type="body" sz="quarter" idx="49" hasCustomPrompt="1"/>
          </p:nvPr>
        </p:nvSpPr>
        <p:spPr>
          <a:xfrm>
            <a:off x="2270719" y="34307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40499273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rase_Impact_03">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Haga clic para añadir el título</a:t>
            </a:r>
          </a:p>
        </p:txBody>
      </p:sp>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5" name="Marcador de texto 4">
            <a:extLst>
              <a:ext uri="{FF2B5EF4-FFF2-40B4-BE49-F238E27FC236}">
                <a16:creationId xmlns:a16="http://schemas.microsoft.com/office/drawing/2014/main" id="{95C17B94-B74F-4A90-82A5-28ED96009B87}"/>
              </a:ext>
            </a:extLst>
          </p:cNvPr>
          <p:cNvSpPr>
            <a:spLocks noGrp="1"/>
          </p:cNvSpPr>
          <p:nvPr>
            <p:ph type="body" sz="quarter" idx="48" hasCustomPrompt="1"/>
          </p:nvPr>
        </p:nvSpPr>
        <p:spPr>
          <a:xfrm>
            <a:off x="423862" y="2522346"/>
            <a:ext cx="1739475"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
        <p:nvSpPr>
          <p:cNvPr id="2" name="Título 1">
            <a:extLst>
              <a:ext uri="{FF2B5EF4-FFF2-40B4-BE49-F238E27FC236}">
                <a16:creationId xmlns:a16="http://schemas.microsoft.com/office/drawing/2014/main" id="{E6C91F74-2137-4971-AF7A-BC83AE1C7607}"/>
              </a:ext>
            </a:extLst>
          </p:cNvPr>
          <p:cNvSpPr>
            <a:spLocks noGrp="1"/>
          </p:cNvSpPr>
          <p:nvPr>
            <p:ph type="title" hasCustomPrompt="1"/>
          </p:nvPr>
        </p:nvSpPr>
        <p:spPr>
          <a:xfrm>
            <a:off x="423863" y="1471142"/>
            <a:ext cx="2015389" cy="1051204"/>
          </a:xfrm>
          <a:prstGeom prst="rect">
            <a:avLst/>
          </a:prstGeom>
        </p:spPr>
        <p:txBody>
          <a:bodyPr/>
          <a:lstStyle>
            <a:lvl1pPr marL="0" algn="l" defTabSz="742950" rtl="0" eaLnBrk="1" latinLnBrk="0" hangingPunct="1">
              <a:lnSpc>
                <a:spcPct val="90000"/>
              </a:lnSpc>
              <a:spcBef>
                <a:spcPct val="0"/>
              </a:spcBef>
              <a:buNone/>
              <a:defRPr lang="es-ES" sz="3200" kern="1200" dirty="0">
                <a:solidFill>
                  <a:schemeClr val="bg1"/>
                </a:solidFill>
                <a:latin typeface="Santander Headline" panose="020B0504020201020104" pitchFamily="34" charset="0"/>
                <a:ea typeface="+mj-ea"/>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405467488"/>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rase_Impact_03 lines">
    <p:spTree>
      <p:nvGrpSpPr>
        <p:cNvPr id="1" name=""/>
        <p:cNvGrpSpPr/>
        <p:nvPr/>
      </p:nvGrpSpPr>
      <p:grpSpPr>
        <a:xfrm>
          <a:off x="0" y="0"/>
          <a:ext cx="0" cy="0"/>
          <a:chOff x="0" y="0"/>
          <a:chExt cx="0" cy="0"/>
        </a:xfrm>
      </p:grpSpPr>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9" name="Conector recto 8">
            <a:extLst>
              <a:ext uri="{FF2B5EF4-FFF2-40B4-BE49-F238E27FC236}">
                <a16:creationId xmlns:a16="http://schemas.microsoft.com/office/drawing/2014/main" id="{0C09614A-53B9-4A61-84A7-859FB3707A5A}"/>
              </a:ext>
            </a:extLst>
          </p:cNvPr>
          <p:cNvCxnSpPr>
            <a:cxnSpLocks/>
          </p:cNvCxnSpPr>
          <p:nvPr userDrawn="1"/>
        </p:nvCxnSpPr>
        <p:spPr>
          <a:xfrm>
            <a:off x="2274570" y="38347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72E13198-EF88-4783-926A-8BB8AE962ED5}"/>
              </a:ext>
            </a:extLst>
          </p:cNvPr>
          <p:cNvCxnSpPr>
            <a:cxnSpLocks/>
          </p:cNvCxnSpPr>
          <p:nvPr userDrawn="1"/>
        </p:nvCxnSpPr>
        <p:spPr>
          <a:xfrm>
            <a:off x="6106632" y="33835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2E8BE9B3-F3A3-4B21-AE5B-F5319D210B19}"/>
              </a:ext>
            </a:extLst>
          </p:cNvPr>
          <p:cNvSpPr>
            <a:spLocks noGrp="1"/>
          </p:cNvSpPr>
          <p:nvPr>
            <p:ph type="body" sz="quarter" idx="49" hasCustomPrompt="1"/>
          </p:nvPr>
        </p:nvSpPr>
        <p:spPr>
          <a:xfrm>
            <a:off x="6298969" y="26627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2" name="Marcador de texto 4">
            <a:extLst>
              <a:ext uri="{FF2B5EF4-FFF2-40B4-BE49-F238E27FC236}">
                <a16:creationId xmlns:a16="http://schemas.microsoft.com/office/drawing/2014/main" id="{770A02B3-CD47-404C-BBA0-BA4E67E4CD1C}"/>
              </a:ext>
            </a:extLst>
          </p:cNvPr>
          <p:cNvSpPr>
            <a:spLocks noGrp="1"/>
          </p:cNvSpPr>
          <p:nvPr>
            <p:ph type="body" sz="quarter" idx="50" hasCustomPrompt="1"/>
          </p:nvPr>
        </p:nvSpPr>
        <p:spPr>
          <a:xfrm>
            <a:off x="2270719" y="31157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21307794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rase_Impact_05">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36968"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158234252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rase_Impact_05 lines">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5FC653A8-EB78-4233-9B05-513594F97F44}"/>
              </a:ext>
            </a:extLst>
          </p:cNvPr>
          <p:cNvCxnSpPr>
            <a:cxnSpLocks/>
          </p:cNvCxnSpPr>
          <p:nvPr userDrawn="1"/>
        </p:nvCxnSpPr>
        <p:spPr>
          <a:xfrm>
            <a:off x="2274570" y="41776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F6712989-55A3-401E-B2A7-5B2B0B52387D}"/>
              </a:ext>
            </a:extLst>
          </p:cNvPr>
          <p:cNvCxnSpPr>
            <a:cxnSpLocks/>
          </p:cNvCxnSpPr>
          <p:nvPr userDrawn="1"/>
        </p:nvCxnSpPr>
        <p:spPr>
          <a:xfrm>
            <a:off x="6106632" y="37264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F8F69366-A0B9-45CF-8EE9-56E8B8765C6E}"/>
              </a:ext>
            </a:extLst>
          </p:cNvPr>
          <p:cNvSpPr>
            <a:spLocks noGrp="1"/>
          </p:cNvSpPr>
          <p:nvPr>
            <p:ph type="body" sz="quarter" idx="48" hasCustomPrompt="1"/>
          </p:nvPr>
        </p:nvSpPr>
        <p:spPr>
          <a:xfrm>
            <a:off x="6298969" y="30056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EA34F909-4D2B-4978-B98F-CBD630929BCB}"/>
              </a:ext>
            </a:extLst>
          </p:cNvPr>
          <p:cNvSpPr>
            <a:spLocks noGrp="1"/>
          </p:cNvSpPr>
          <p:nvPr>
            <p:ph type="body" sz="quarter" idx="49" hasCustomPrompt="1"/>
          </p:nvPr>
        </p:nvSpPr>
        <p:spPr>
          <a:xfrm>
            <a:off x="2270719" y="34586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306519074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bg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163098" cy="1130731"/>
          </a:xfrm>
          <a:prstGeom prst="rect">
            <a:avLst/>
          </a:prstGeom>
        </p:spPr>
        <p:txBody>
          <a:bodyPr lIns="0" tIns="0" rIns="0" bIns="0" anchor="t" anchorCtr="0">
            <a:noAutofit/>
          </a:bodyPr>
          <a:lstStyle>
            <a:lvl1pPr algn="l">
              <a:defRPr sz="4000">
                <a:solidFill>
                  <a:schemeClr val="bg1"/>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4" name="Gráfico 13">
            <a:extLst>
              <a:ext uri="{FF2B5EF4-FFF2-40B4-BE49-F238E27FC236}">
                <a16:creationId xmlns:a16="http://schemas.microsoft.com/office/drawing/2014/main" id="{EAD1B9FA-077D-43F7-B31C-3E6557F96B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296590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03">
    <p:spTree>
      <p:nvGrpSpPr>
        <p:cNvPr id="1" name=""/>
        <p:cNvGrpSpPr/>
        <p:nvPr/>
      </p:nvGrpSpPr>
      <p:grpSpPr>
        <a:xfrm>
          <a:off x="0" y="0"/>
          <a:ext cx="0" cy="0"/>
          <a:chOff x="0" y="0"/>
          <a:chExt cx="0" cy="0"/>
        </a:xfrm>
      </p:grpSpPr>
      <p:pic>
        <p:nvPicPr>
          <p:cNvPr id="11" name="Imagen 10" descr="Imagen que contiene verde, alfombra&#10;&#10;Descripción generada automáticamente">
            <a:extLst>
              <a:ext uri="{FF2B5EF4-FFF2-40B4-BE49-F238E27FC236}">
                <a16:creationId xmlns:a16="http://schemas.microsoft.com/office/drawing/2014/main" id="{AB8CCE50-3C10-43EB-AD2E-1BA3DA7BFF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34202" y="-1"/>
            <a:ext cx="7934890" cy="6858001"/>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2" name="Título 1">
            <a:extLst>
              <a:ext uri="{FF2B5EF4-FFF2-40B4-BE49-F238E27FC236}">
                <a16:creationId xmlns:a16="http://schemas.microsoft.com/office/drawing/2014/main" id="{5CD7A62F-0FAA-498A-9925-E9C698702D46}"/>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4" name="Subtítulo 2">
            <a:extLst>
              <a:ext uri="{FF2B5EF4-FFF2-40B4-BE49-F238E27FC236}">
                <a16:creationId xmlns:a16="http://schemas.microsoft.com/office/drawing/2014/main" id="{D540F819-D00C-4880-93D8-F72F845CE6D9}"/>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6BB9AE6F-2C06-46B2-AF3E-2B591A44A6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59164978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1" i="0">
                <a:solidFill>
                  <a:schemeClr val="tx1"/>
                </a:solidFill>
                <a:latin typeface="Santander Text" panose="020B05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Light" panose="020B03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245344465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pic>
        <p:nvPicPr>
          <p:cNvPr id="4" name="Gráfico 3">
            <a:extLst>
              <a:ext uri="{FF2B5EF4-FFF2-40B4-BE49-F238E27FC236}">
                <a16:creationId xmlns:a16="http://schemas.microsoft.com/office/drawing/2014/main" id="{FB77043E-2525-47F7-8F31-7A92994A3E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7"/>
            <a:ext cx="3181299" cy="549854"/>
          </a:xfrm>
          <a:prstGeom prst="rect">
            <a:avLst/>
          </a:prstGeom>
        </p:spPr>
      </p:pic>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spTree>
    <p:extLst>
      <p:ext uri="{BB962C8B-B14F-4D97-AF65-F5344CB8AC3E}">
        <p14:creationId xmlns:p14="http://schemas.microsoft.com/office/powerpoint/2010/main" val="2864774735"/>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3278751508"/>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Grey">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D5F0CF-A59C-45D8-8B90-4C68A473592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3" name="Conector recto 2">
            <a:extLst>
              <a:ext uri="{FF2B5EF4-FFF2-40B4-BE49-F238E27FC236}">
                <a16:creationId xmlns:a16="http://schemas.microsoft.com/office/drawing/2014/main" id="{8E9D0C20-A937-47C8-87DD-C13BE947DB6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0931606"/>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23338"/>
      </p:ext>
    </p:extLst>
  </p:cSld>
  <p:clrMapOvr>
    <a:masterClrMapping/>
  </p:clrMapOvr>
  <p:extLst>
    <p:ext uri="{DCECCB84-F9BA-43D5-87BE-67443E8EF086}">
      <p15:sldGuideLst xmlns:p15="http://schemas.microsoft.com/office/powerpoint/2012/main">
        <p15:guide id="2" pos="740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2217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827359" y="2001528"/>
            <a:ext cx="4923316"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818314" y="1691640"/>
            <a:ext cx="4932363"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402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1174543948"/>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420338" y="2002163"/>
            <a:ext cx="5319225"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420341" y="1692275"/>
            <a:ext cx="5319225"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243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3905344509"/>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1"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558840920"/>
      </p:ext>
    </p:extLst>
  </p:cSld>
  <p:clrMapOvr>
    <a:masterClrMapping/>
  </p:clrMapOvr>
  <p:extLst>
    <p:ext uri="{DCECCB84-F9BA-43D5-87BE-67443E8EF086}">
      <p15:sldGuideLst xmlns:p15="http://schemas.microsoft.com/office/powerpoint/2012/main">
        <p15:guide id="1" pos="4044" userDrawn="1">
          <p15:clr>
            <a:srgbClr val="FBAE40"/>
          </p15:clr>
        </p15:guide>
        <p15:guide id="2" orient="horz" pos="107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Texts 2 Graph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9259" y="1691640"/>
            <a:ext cx="532051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8" name="Marcador de gráfico 3">
            <a:extLst>
              <a:ext uri="{FF2B5EF4-FFF2-40B4-BE49-F238E27FC236}">
                <a16:creationId xmlns:a16="http://schemas.microsoft.com/office/drawing/2014/main" id="{A534100C-A7C2-47DE-9915-7861CD80024C}"/>
              </a:ext>
            </a:extLst>
          </p:cNvPr>
          <p:cNvSpPr>
            <a:spLocks noGrp="1"/>
          </p:cNvSpPr>
          <p:nvPr>
            <p:ph type="chart" sz="quarter" idx="65" hasCustomPrompt="1"/>
          </p:nvPr>
        </p:nvSpPr>
        <p:spPr>
          <a:xfrm>
            <a:off x="443525"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9" name="Marcador de texto 4">
            <a:extLst>
              <a:ext uri="{FF2B5EF4-FFF2-40B4-BE49-F238E27FC236}">
                <a16:creationId xmlns:a16="http://schemas.microsoft.com/office/drawing/2014/main" id="{325A055B-C838-43E5-AC0B-878944DF80F4}"/>
              </a:ext>
            </a:extLst>
          </p:cNvPr>
          <p:cNvSpPr>
            <a:spLocks noGrp="1"/>
          </p:cNvSpPr>
          <p:nvPr>
            <p:ph type="body" sz="quarter" idx="31" hasCustomPrompt="1"/>
          </p:nvPr>
        </p:nvSpPr>
        <p:spPr>
          <a:xfrm>
            <a:off x="443523"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0" name="Marcador de texto 4">
            <a:extLst>
              <a:ext uri="{FF2B5EF4-FFF2-40B4-BE49-F238E27FC236}">
                <a16:creationId xmlns:a16="http://schemas.microsoft.com/office/drawing/2014/main" id="{6599239B-B8B4-40AD-BBE6-511C91D1F35C}"/>
              </a:ext>
            </a:extLst>
          </p:cNvPr>
          <p:cNvSpPr>
            <a:spLocks noGrp="1"/>
          </p:cNvSpPr>
          <p:nvPr>
            <p:ph type="body" sz="quarter" idx="66" hasCustomPrompt="1"/>
          </p:nvPr>
        </p:nvSpPr>
        <p:spPr>
          <a:xfrm>
            <a:off x="439867"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1" name="Marcador de gráfico 3">
            <a:extLst>
              <a:ext uri="{FF2B5EF4-FFF2-40B4-BE49-F238E27FC236}">
                <a16:creationId xmlns:a16="http://schemas.microsoft.com/office/drawing/2014/main" id="{88231BB7-4DC5-412C-A632-7301D2649DB2}"/>
              </a:ext>
            </a:extLst>
          </p:cNvPr>
          <p:cNvSpPr>
            <a:spLocks noGrp="1"/>
          </p:cNvSpPr>
          <p:nvPr>
            <p:ph type="chart" sz="quarter" idx="67" hasCustomPrompt="1"/>
          </p:nvPr>
        </p:nvSpPr>
        <p:spPr>
          <a:xfrm>
            <a:off x="6398848"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2" name="Marcador de texto 4">
            <a:extLst>
              <a:ext uri="{FF2B5EF4-FFF2-40B4-BE49-F238E27FC236}">
                <a16:creationId xmlns:a16="http://schemas.microsoft.com/office/drawing/2014/main" id="{268C0BF3-5A29-4B8B-A9C2-D473954B5BAD}"/>
              </a:ext>
            </a:extLst>
          </p:cNvPr>
          <p:cNvSpPr>
            <a:spLocks noGrp="1"/>
          </p:cNvSpPr>
          <p:nvPr>
            <p:ph type="body" sz="quarter" idx="68" hasCustomPrompt="1"/>
          </p:nvPr>
        </p:nvSpPr>
        <p:spPr>
          <a:xfrm>
            <a:off x="6398846"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3" name="Marcador de texto 4">
            <a:extLst>
              <a:ext uri="{FF2B5EF4-FFF2-40B4-BE49-F238E27FC236}">
                <a16:creationId xmlns:a16="http://schemas.microsoft.com/office/drawing/2014/main" id="{4BAC8A95-21EE-4B3F-92AD-36F23407443B}"/>
              </a:ext>
            </a:extLst>
          </p:cNvPr>
          <p:cNvSpPr>
            <a:spLocks noGrp="1"/>
          </p:cNvSpPr>
          <p:nvPr>
            <p:ph type="body" sz="quarter" idx="69" hasCustomPrompt="1"/>
          </p:nvPr>
        </p:nvSpPr>
        <p:spPr>
          <a:xfrm>
            <a:off x="6395190"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57295298"/>
      </p:ext>
    </p:extLst>
  </p:cSld>
  <p:clrMapOvr>
    <a:masterClrMapping/>
  </p:clrMapOvr>
  <p:extLst>
    <p:ext uri="{DCECCB84-F9BA-43D5-87BE-67443E8EF086}">
      <p15:sldGuideLst xmlns:p15="http://schemas.microsoft.com/office/powerpoint/2012/main">
        <p15:guide id="1" pos="4036" userDrawn="1">
          <p15:clr>
            <a:srgbClr val="FBAE40"/>
          </p15:clr>
        </p15:guide>
        <p15:guide id="2" orient="horz" pos="107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05">
    <p:spTree>
      <p:nvGrpSpPr>
        <p:cNvPr id="1" name=""/>
        <p:cNvGrpSpPr/>
        <p:nvPr/>
      </p:nvGrpSpPr>
      <p:grpSpPr>
        <a:xfrm>
          <a:off x="0" y="0"/>
          <a:ext cx="0" cy="0"/>
          <a:chOff x="0" y="0"/>
          <a:chExt cx="0" cy="0"/>
        </a:xfrm>
      </p:grpSpPr>
      <p:pic>
        <p:nvPicPr>
          <p:cNvPr id="14" name="Imagen 13" descr="Una persona hablando por teléfono en la calle&#10;&#10;Descripción generada automáticamente con confianza baja">
            <a:extLst>
              <a:ext uri="{FF2B5EF4-FFF2-40B4-BE49-F238E27FC236}">
                <a16:creationId xmlns:a16="http://schemas.microsoft.com/office/drawing/2014/main" id="{6199B7CC-FF45-4609-91BB-69AD45630A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73622" y="0"/>
            <a:ext cx="790662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1" name="Título 1">
            <a:extLst>
              <a:ext uri="{FF2B5EF4-FFF2-40B4-BE49-F238E27FC236}">
                <a16:creationId xmlns:a16="http://schemas.microsoft.com/office/drawing/2014/main" id="{76CF1265-6925-4C3C-889D-13DC7F1CD5CD}"/>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2" name="Subtítulo 2">
            <a:extLst>
              <a:ext uri="{FF2B5EF4-FFF2-40B4-BE49-F238E27FC236}">
                <a16:creationId xmlns:a16="http://schemas.microsoft.com/office/drawing/2014/main" id="{B72F59BE-42FB-4763-99E8-94F51EBCDC18}"/>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EB73D48A-43F4-49A4-A9CF-446550DC77D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2435117964"/>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381120639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Texts and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contenido 2">
            <a:extLst>
              <a:ext uri="{FF2B5EF4-FFF2-40B4-BE49-F238E27FC236}">
                <a16:creationId xmlns:a16="http://schemas.microsoft.com/office/drawing/2014/main" id="{7E527339-F4B2-4F0A-AB1B-5E840BA4F9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56838941"/>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120633041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s +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contenido 2">
            <a:extLst>
              <a:ext uri="{FF2B5EF4-FFF2-40B4-BE49-F238E27FC236}">
                <a16:creationId xmlns:a16="http://schemas.microsoft.com/office/drawing/2014/main" id="{080ED81B-83CB-4063-82C4-5FB8AF295666}"/>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369428964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4027856028"/>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Texts and obje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 name="Marcador de contenido 2">
            <a:extLst>
              <a:ext uri="{FF2B5EF4-FFF2-40B4-BE49-F238E27FC236}">
                <a16:creationId xmlns:a16="http://schemas.microsoft.com/office/drawing/2014/main" id="{821A45D9-B8C5-434B-A776-D67A978AD4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154454055"/>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texto 4">
            <a:extLst>
              <a:ext uri="{FF2B5EF4-FFF2-40B4-BE49-F238E27FC236}">
                <a16:creationId xmlns:a16="http://schemas.microsoft.com/office/drawing/2014/main" id="{F9CF7978-9721-43A9-9A6E-683593D649FE}"/>
              </a:ext>
            </a:extLst>
          </p:cNvPr>
          <p:cNvSpPr>
            <a:spLocks noGrp="1"/>
          </p:cNvSpPr>
          <p:nvPr>
            <p:ph type="body" sz="quarter" idx="56" hasCustomPrompt="1"/>
          </p:nvPr>
        </p:nvSpPr>
        <p:spPr>
          <a:xfrm>
            <a:off x="43053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1" name="Marcador de texto 4">
            <a:extLst>
              <a:ext uri="{FF2B5EF4-FFF2-40B4-BE49-F238E27FC236}">
                <a16:creationId xmlns:a16="http://schemas.microsoft.com/office/drawing/2014/main" id="{A92C6E7E-1B9A-4B5B-8786-9427101847CB}"/>
              </a:ext>
            </a:extLst>
          </p:cNvPr>
          <p:cNvSpPr>
            <a:spLocks noGrp="1"/>
          </p:cNvSpPr>
          <p:nvPr>
            <p:ph type="body" sz="quarter" idx="57" hasCustomPrompt="1"/>
          </p:nvPr>
        </p:nvSpPr>
        <p:spPr>
          <a:xfrm>
            <a:off x="43053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texto 4">
            <a:extLst>
              <a:ext uri="{FF2B5EF4-FFF2-40B4-BE49-F238E27FC236}">
                <a16:creationId xmlns:a16="http://schemas.microsoft.com/office/drawing/2014/main" id="{9FA8B101-54B2-47F7-9319-DA50FABCBE5B}"/>
              </a:ext>
            </a:extLst>
          </p:cNvPr>
          <p:cNvSpPr>
            <a:spLocks noGrp="1"/>
          </p:cNvSpPr>
          <p:nvPr>
            <p:ph type="body" sz="quarter" idx="58" hasCustomPrompt="1"/>
          </p:nvPr>
        </p:nvSpPr>
        <p:spPr>
          <a:xfrm>
            <a:off x="442341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3" name="Marcador de texto 4">
            <a:extLst>
              <a:ext uri="{FF2B5EF4-FFF2-40B4-BE49-F238E27FC236}">
                <a16:creationId xmlns:a16="http://schemas.microsoft.com/office/drawing/2014/main" id="{26537227-D7EB-4CCD-810A-72C09E92618C}"/>
              </a:ext>
            </a:extLst>
          </p:cNvPr>
          <p:cNvSpPr>
            <a:spLocks noGrp="1"/>
          </p:cNvSpPr>
          <p:nvPr>
            <p:ph type="body" sz="quarter" idx="59" hasCustomPrompt="1"/>
          </p:nvPr>
        </p:nvSpPr>
        <p:spPr>
          <a:xfrm>
            <a:off x="442341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4" name="Marcador de texto 4">
            <a:extLst>
              <a:ext uri="{FF2B5EF4-FFF2-40B4-BE49-F238E27FC236}">
                <a16:creationId xmlns:a16="http://schemas.microsoft.com/office/drawing/2014/main" id="{79D245BF-7879-489A-BAB7-C9F6130998F5}"/>
              </a:ext>
            </a:extLst>
          </p:cNvPr>
          <p:cNvSpPr>
            <a:spLocks noGrp="1"/>
          </p:cNvSpPr>
          <p:nvPr>
            <p:ph type="body" sz="quarter" idx="60" hasCustomPrompt="1"/>
          </p:nvPr>
        </p:nvSpPr>
        <p:spPr>
          <a:xfrm>
            <a:off x="841629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5" name="Marcador de texto 4">
            <a:extLst>
              <a:ext uri="{FF2B5EF4-FFF2-40B4-BE49-F238E27FC236}">
                <a16:creationId xmlns:a16="http://schemas.microsoft.com/office/drawing/2014/main" id="{5AA661E4-FA7A-4915-AA9E-67B0BAD696B6}"/>
              </a:ext>
            </a:extLst>
          </p:cNvPr>
          <p:cNvSpPr>
            <a:spLocks noGrp="1"/>
          </p:cNvSpPr>
          <p:nvPr>
            <p:ph type="body" sz="quarter" idx="61" hasCustomPrompt="1"/>
          </p:nvPr>
        </p:nvSpPr>
        <p:spPr>
          <a:xfrm>
            <a:off x="841629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202495388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cepts with icons">
    <p:spTree>
      <p:nvGrpSpPr>
        <p:cNvPr id="1" name=""/>
        <p:cNvGrpSpPr/>
        <p:nvPr/>
      </p:nvGrpSpPr>
      <p:grpSpPr>
        <a:xfrm>
          <a:off x="0" y="0"/>
          <a:ext cx="0" cy="0"/>
          <a:chOff x="0" y="0"/>
          <a:chExt cx="0" cy="0"/>
        </a:xfrm>
      </p:grpSpPr>
      <p:sp>
        <p:nvSpPr>
          <p:cNvPr id="10" name="Marcador de texto 4">
            <a:extLst>
              <a:ext uri="{FF2B5EF4-FFF2-40B4-BE49-F238E27FC236}">
                <a16:creationId xmlns:a16="http://schemas.microsoft.com/office/drawing/2014/main" id="{CC2FBE8A-CB65-4639-BE93-14FFE6CC88BD}"/>
              </a:ext>
            </a:extLst>
          </p:cNvPr>
          <p:cNvSpPr>
            <a:spLocks noGrp="1"/>
          </p:cNvSpPr>
          <p:nvPr>
            <p:ph type="body" sz="quarter" idx="24" hasCustomPrompt="1"/>
          </p:nvPr>
        </p:nvSpPr>
        <p:spPr>
          <a:xfrm>
            <a:off x="451961" y="2222500"/>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4" name="Marcador de texto 4">
            <a:extLst>
              <a:ext uri="{FF2B5EF4-FFF2-40B4-BE49-F238E27FC236}">
                <a16:creationId xmlns:a16="http://schemas.microsoft.com/office/drawing/2014/main" id="{9B0B5EDF-8213-4E5E-BBAB-F8DEAA36F462}"/>
              </a:ext>
            </a:extLst>
          </p:cNvPr>
          <p:cNvSpPr>
            <a:spLocks noGrp="1"/>
          </p:cNvSpPr>
          <p:nvPr>
            <p:ph type="body" sz="quarter" idx="47" hasCustomPrompt="1"/>
          </p:nvPr>
        </p:nvSpPr>
        <p:spPr>
          <a:xfrm>
            <a:off x="442915" y="1836420"/>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2933" y="3504687"/>
            <a:ext cx="1924494" cy="335797"/>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612922" y="2951791"/>
            <a:ext cx="1924494" cy="31719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803220" y="2398898"/>
            <a:ext cx="1924494" cy="313822"/>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8" name="Título 1">
            <a:extLst>
              <a:ext uri="{FF2B5EF4-FFF2-40B4-BE49-F238E27FC236}">
                <a16:creationId xmlns:a16="http://schemas.microsoft.com/office/drawing/2014/main" id="{03364819-BC4E-4452-BA23-03F03EC78660}"/>
              </a:ext>
            </a:extLst>
          </p:cNvPr>
          <p:cNvSpPr>
            <a:spLocks noGrp="1"/>
          </p:cNvSpPr>
          <p:nvPr>
            <p:ph type="ctrTitle" hasCustomPrompt="1"/>
          </p:nvPr>
        </p:nvSpPr>
        <p:spPr>
          <a:xfrm>
            <a:off x="439260" y="939173"/>
            <a:ext cx="4375787"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9" name="Conector recto 18">
            <a:extLst>
              <a:ext uri="{FF2B5EF4-FFF2-40B4-BE49-F238E27FC236}">
                <a16:creationId xmlns:a16="http://schemas.microsoft.com/office/drawing/2014/main" id="{7A096C12-70EB-495B-B8B1-7E6E9F7E9EB8}"/>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Marcador de texto 4">
            <a:extLst>
              <a:ext uri="{FF2B5EF4-FFF2-40B4-BE49-F238E27FC236}">
                <a16:creationId xmlns:a16="http://schemas.microsoft.com/office/drawing/2014/main" id="{75866655-1365-4A48-80E0-EBFD1B8C457B}"/>
              </a:ext>
            </a:extLst>
          </p:cNvPr>
          <p:cNvSpPr>
            <a:spLocks noGrp="1"/>
          </p:cNvSpPr>
          <p:nvPr>
            <p:ph type="body" sz="quarter" idx="50" hasCustomPrompt="1"/>
          </p:nvPr>
        </p:nvSpPr>
        <p:spPr>
          <a:xfrm>
            <a:off x="5389844" y="3855722"/>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C0BC5578-85AE-453E-90FE-6CC81995B7BC}"/>
              </a:ext>
            </a:extLst>
          </p:cNvPr>
          <p:cNvSpPr>
            <a:spLocks noGrp="1"/>
          </p:cNvSpPr>
          <p:nvPr>
            <p:ph type="body" sz="quarter" idx="51" hasCustomPrompt="1"/>
          </p:nvPr>
        </p:nvSpPr>
        <p:spPr>
          <a:xfrm>
            <a:off x="7612922" y="3288347"/>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F903FB2E-FECB-43FD-A778-E1313EE438B5}"/>
              </a:ext>
            </a:extLst>
          </p:cNvPr>
          <p:cNvSpPr>
            <a:spLocks noGrp="1"/>
          </p:cNvSpPr>
          <p:nvPr>
            <p:ph type="body" sz="quarter" idx="52" hasCustomPrompt="1"/>
          </p:nvPr>
        </p:nvSpPr>
        <p:spPr>
          <a:xfrm>
            <a:off x="9810047" y="2731179"/>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Tree>
    <p:extLst>
      <p:ext uri="{BB962C8B-B14F-4D97-AF65-F5344CB8AC3E}">
        <p14:creationId xmlns:p14="http://schemas.microsoft.com/office/powerpoint/2010/main" val="278085339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text columns">
    <p:spTree>
      <p:nvGrpSpPr>
        <p:cNvPr id="1" name=""/>
        <p:cNvGrpSpPr/>
        <p:nvPr/>
      </p:nvGrpSpPr>
      <p:grpSpPr>
        <a:xfrm>
          <a:off x="0" y="0"/>
          <a:ext cx="0" cy="0"/>
          <a:chOff x="0" y="0"/>
          <a:chExt cx="0" cy="0"/>
        </a:xfrm>
      </p:grpSpPr>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0708"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2" name="Conector recto 11">
            <a:extLst>
              <a:ext uri="{FF2B5EF4-FFF2-40B4-BE49-F238E27FC236}">
                <a16:creationId xmlns:a16="http://schemas.microsoft.com/office/drawing/2014/main" id="{1D2E9031-3A36-AE46-B493-4A5EB019925B}"/>
              </a:ext>
            </a:extLst>
          </p:cNvPr>
          <p:cNvCxnSpPr>
            <a:cxnSpLocks/>
          </p:cNvCxnSpPr>
          <p:nvPr userDrawn="1"/>
        </p:nvCxnSpPr>
        <p:spPr>
          <a:xfrm>
            <a:off x="5370525"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581016"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5" name="Conector recto 14">
            <a:extLst>
              <a:ext uri="{FF2B5EF4-FFF2-40B4-BE49-F238E27FC236}">
                <a16:creationId xmlns:a16="http://schemas.microsoft.com/office/drawing/2014/main" id="{679A56D5-4D24-A944-80D7-7D5EAD0CF4DF}"/>
              </a:ext>
            </a:extLst>
          </p:cNvPr>
          <p:cNvCxnSpPr>
            <a:cxnSpLocks/>
          </p:cNvCxnSpPr>
          <p:nvPr userDrawn="1"/>
        </p:nvCxnSpPr>
        <p:spPr>
          <a:xfrm>
            <a:off x="7560830"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792579"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7" name="Conector recto 16">
            <a:extLst>
              <a:ext uri="{FF2B5EF4-FFF2-40B4-BE49-F238E27FC236}">
                <a16:creationId xmlns:a16="http://schemas.microsoft.com/office/drawing/2014/main" id="{6E23DF16-4F86-5346-AA0C-5F70A3BCECD4}"/>
              </a:ext>
            </a:extLst>
          </p:cNvPr>
          <p:cNvCxnSpPr>
            <a:cxnSpLocks/>
          </p:cNvCxnSpPr>
          <p:nvPr userDrawn="1"/>
        </p:nvCxnSpPr>
        <p:spPr>
          <a:xfrm>
            <a:off x="9772397"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5">
            <a:extLst>
              <a:ext uri="{FF2B5EF4-FFF2-40B4-BE49-F238E27FC236}">
                <a16:creationId xmlns:a16="http://schemas.microsoft.com/office/drawing/2014/main" id="{68123552-AD5A-BE44-9D1A-6A59A1ECF624}"/>
              </a:ext>
            </a:extLst>
          </p:cNvPr>
          <p:cNvSpPr>
            <a:spLocks noGrp="1"/>
          </p:cNvSpPr>
          <p:nvPr>
            <p:ph type="body" sz="quarter" idx="50" hasCustomPrompt="1"/>
          </p:nvPr>
        </p:nvSpPr>
        <p:spPr>
          <a:xfrm>
            <a:off x="5390708"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5">
            <a:extLst>
              <a:ext uri="{FF2B5EF4-FFF2-40B4-BE49-F238E27FC236}">
                <a16:creationId xmlns:a16="http://schemas.microsoft.com/office/drawing/2014/main" id="{01419B87-68DC-1A4C-A9F9-F4ECC210083A}"/>
              </a:ext>
            </a:extLst>
          </p:cNvPr>
          <p:cNvSpPr>
            <a:spLocks noGrp="1"/>
          </p:cNvSpPr>
          <p:nvPr>
            <p:ph type="body" sz="quarter" idx="51" hasCustomPrompt="1"/>
          </p:nvPr>
        </p:nvSpPr>
        <p:spPr>
          <a:xfrm>
            <a:off x="7581016"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5">
            <a:extLst>
              <a:ext uri="{FF2B5EF4-FFF2-40B4-BE49-F238E27FC236}">
                <a16:creationId xmlns:a16="http://schemas.microsoft.com/office/drawing/2014/main" id="{57A669EE-3D1E-6447-ABA4-DD7FF20C1A77}"/>
              </a:ext>
            </a:extLst>
          </p:cNvPr>
          <p:cNvSpPr>
            <a:spLocks noGrp="1"/>
          </p:cNvSpPr>
          <p:nvPr>
            <p:ph type="body" sz="quarter" idx="52" hasCustomPrompt="1"/>
          </p:nvPr>
        </p:nvSpPr>
        <p:spPr>
          <a:xfrm>
            <a:off x="9792579"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Título 1">
            <a:extLst>
              <a:ext uri="{FF2B5EF4-FFF2-40B4-BE49-F238E27FC236}">
                <a16:creationId xmlns:a16="http://schemas.microsoft.com/office/drawing/2014/main" id="{AEF3572F-6DBD-454B-A6F6-E1382E1B214A}"/>
              </a:ext>
            </a:extLst>
          </p:cNvPr>
          <p:cNvSpPr>
            <a:spLocks noGrp="1"/>
          </p:cNvSpPr>
          <p:nvPr>
            <p:ph type="ctrTitle" hasCustomPrompt="1"/>
          </p:nvPr>
        </p:nvSpPr>
        <p:spPr>
          <a:xfrm>
            <a:off x="439259" y="939173"/>
            <a:ext cx="4361342" cy="457516"/>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24" name="Conector recto 23">
            <a:extLst>
              <a:ext uri="{FF2B5EF4-FFF2-40B4-BE49-F238E27FC236}">
                <a16:creationId xmlns:a16="http://schemas.microsoft.com/office/drawing/2014/main" id="{3F6F408C-A266-4E90-99B1-D06BCEE3A177}"/>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Marcador de texto 4">
            <a:extLst>
              <a:ext uri="{FF2B5EF4-FFF2-40B4-BE49-F238E27FC236}">
                <a16:creationId xmlns:a16="http://schemas.microsoft.com/office/drawing/2014/main" id="{911B24E5-F7B4-4F7E-A55D-20FABBF7325B}"/>
              </a:ext>
            </a:extLst>
          </p:cNvPr>
          <p:cNvSpPr>
            <a:spLocks noGrp="1"/>
          </p:cNvSpPr>
          <p:nvPr>
            <p:ph type="body" sz="quarter" idx="24" hasCustomPrompt="1"/>
          </p:nvPr>
        </p:nvSpPr>
        <p:spPr>
          <a:xfrm>
            <a:off x="462775" y="2127568"/>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AE78003B-C508-4826-B806-B6F55E205E18}"/>
              </a:ext>
            </a:extLst>
          </p:cNvPr>
          <p:cNvSpPr>
            <a:spLocks noGrp="1"/>
          </p:cNvSpPr>
          <p:nvPr>
            <p:ph type="body" sz="quarter" idx="47" hasCustomPrompt="1"/>
          </p:nvPr>
        </p:nvSpPr>
        <p:spPr>
          <a:xfrm>
            <a:off x="453729" y="1741488"/>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49053628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sp>
        <p:nvSpPr>
          <p:cNvPr id="30" name="Marcador de texto 4">
            <a:extLst>
              <a:ext uri="{FF2B5EF4-FFF2-40B4-BE49-F238E27FC236}">
                <a16:creationId xmlns:a16="http://schemas.microsoft.com/office/drawing/2014/main" id="{936ADA27-CEDF-41C7-A48F-06DB2227D1FB}"/>
              </a:ext>
            </a:extLst>
          </p:cNvPr>
          <p:cNvSpPr>
            <a:spLocks noGrp="1"/>
          </p:cNvSpPr>
          <p:nvPr>
            <p:ph type="body" sz="quarter" idx="31" hasCustomPrompt="1"/>
          </p:nvPr>
        </p:nvSpPr>
        <p:spPr>
          <a:xfrm>
            <a:off x="442915" y="1718244"/>
            <a:ext cx="1130617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5" y="2349500"/>
            <a:ext cx="11306175" cy="38877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21" name="Marcador de texto 4">
            <a:extLst>
              <a:ext uri="{FF2B5EF4-FFF2-40B4-BE49-F238E27FC236}">
                <a16:creationId xmlns:a16="http://schemas.microsoft.com/office/drawing/2014/main" id="{CB524C6F-854C-460E-B06B-DEA5F76FA890}"/>
              </a:ext>
            </a:extLst>
          </p:cNvPr>
          <p:cNvSpPr>
            <a:spLocks noGrp="1"/>
          </p:cNvSpPr>
          <p:nvPr>
            <p:ph type="body" sz="quarter" idx="66" hasCustomPrompt="1"/>
          </p:nvPr>
        </p:nvSpPr>
        <p:spPr>
          <a:xfrm>
            <a:off x="439261" y="1950439"/>
            <a:ext cx="11306175"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7" name="Título 1">
            <a:extLst>
              <a:ext uri="{FF2B5EF4-FFF2-40B4-BE49-F238E27FC236}">
                <a16:creationId xmlns:a16="http://schemas.microsoft.com/office/drawing/2014/main" id="{9D8B7694-2E23-425B-B59B-6E1BDBDF4598}"/>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8" name="Conector recto 7">
            <a:extLst>
              <a:ext uri="{FF2B5EF4-FFF2-40B4-BE49-F238E27FC236}">
                <a16:creationId xmlns:a16="http://schemas.microsoft.com/office/drawing/2014/main" id="{85027861-F774-4395-BD3A-2AABE01A5A00}"/>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5931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out image lines">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C274D735-F031-C845-839C-9A10048D0899}"/>
              </a:ext>
            </a:extLst>
          </p:cNvPr>
          <p:cNvGrpSpPr/>
          <p:nvPr userDrawn="1"/>
        </p:nvGrpSpPr>
        <p:grpSpPr>
          <a:xfrm>
            <a:off x="-1" y="659219"/>
            <a:ext cx="12192001" cy="5497032"/>
            <a:chOff x="-1" y="659219"/>
            <a:chExt cx="12192001" cy="5497032"/>
          </a:xfrm>
          <a:solidFill>
            <a:schemeClr val="accent1"/>
          </a:solidFill>
        </p:grpSpPr>
        <p:sp>
          <p:nvSpPr>
            <p:cNvPr id="6" name="Rectángulo 5">
              <a:extLst>
                <a:ext uri="{FF2B5EF4-FFF2-40B4-BE49-F238E27FC236}">
                  <a16:creationId xmlns:a16="http://schemas.microsoft.com/office/drawing/2014/main" id="{0E055A1B-3660-8D4E-84DE-9ECFF1C17D2C}"/>
                </a:ext>
              </a:extLst>
            </p:cNvPr>
            <p:cNvSpPr/>
            <p:nvPr userDrawn="1"/>
          </p:nvSpPr>
          <p:spPr>
            <a:xfrm>
              <a:off x="0" y="659219"/>
              <a:ext cx="12192000"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21" name="Rectángulo 20">
              <a:extLst>
                <a:ext uri="{FF2B5EF4-FFF2-40B4-BE49-F238E27FC236}">
                  <a16:creationId xmlns:a16="http://schemas.microsoft.com/office/drawing/2014/main" id="{FCFA1743-B97A-8445-9210-427788653070}"/>
                </a:ext>
              </a:extLst>
            </p:cNvPr>
            <p:cNvSpPr/>
            <p:nvPr userDrawn="1"/>
          </p:nvSpPr>
          <p:spPr>
            <a:xfrm>
              <a:off x="-1" y="1531089"/>
              <a:ext cx="6131441"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grpSp>
        <p:nvGrpSpPr>
          <p:cNvPr id="3" name="Grupo 2">
            <a:extLst>
              <a:ext uri="{FF2B5EF4-FFF2-40B4-BE49-F238E27FC236}">
                <a16:creationId xmlns:a16="http://schemas.microsoft.com/office/drawing/2014/main" id="{A692D9AB-55D2-4FEF-AB87-63A37F188514}"/>
              </a:ext>
            </a:extLst>
          </p:cNvPr>
          <p:cNvGrpSpPr/>
          <p:nvPr userDrawn="1"/>
        </p:nvGrpSpPr>
        <p:grpSpPr>
          <a:xfrm>
            <a:off x="0" y="5283200"/>
            <a:ext cx="12192000" cy="1574800"/>
            <a:chOff x="0" y="5283200"/>
            <a:chExt cx="12192000" cy="1574800"/>
          </a:xfrm>
          <a:solidFill>
            <a:srgbClr val="F6F6F6"/>
          </a:solidFill>
        </p:grpSpPr>
        <p:sp>
          <p:nvSpPr>
            <p:cNvPr id="2" name="Rectángulo 1">
              <a:extLst>
                <a:ext uri="{FF2B5EF4-FFF2-40B4-BE49-F238E27FC236}">
                  <a16:creationId xmlns:a16="http://schemas.microsoft.com/office/drawing/2014/main" id="{29F681FB-F583-4820-AD17-9E9C1BDD22F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1" name="Rectángulo 10">
              <a:extLst>
                <a:ext uri="{FF2B5EF4-FFF2-40B4-BE49-F238E27FC236}">
                  <a16:creationId xmlns:a16="http://schemas.microsoft.com/office/drawing/2014/main" id="{526BA127-0739-4BAE-A142-EF04EACFC741}"/>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2463B206-FC62-44A4-B652-071439897935}"/>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57F08B7-24E5-4507-BECC-92162E75EA62}"/>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ítulo 1">
            <a:extLst>
              <a:ext uri="{FF2B5EF4-FFF2-40B4-BE49-F238E27FC236}">
                <a16:creationId xmlns:a16="http://schemas.microsoft.com/office/drawing/2014/main" id="{42B533C6-BE4E-480D-9817-DDFD46B0EDFC}"/>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out</a:t>
            </a:r>
            <a:r>
              <a:rPr lang="es-ES" dirty="0"/>
              <a:t> </a:t>
            </a:r>
            <a:r>
              <a:rPr lang="es-ES" dirty="0" err="1"/>
              <a:t>image</a:t>
            </a:r>
            <a:endParaRPr lang="es-ES" dirty="0"/>
          </a:p>
        </p:txBody>
      </p:sp>
      <p:sp>
        <p:nvSpPr>
          <p:cNvPr id="12" name="Marcador de texto 4">
            <a:extLst>
              <a:ext uri="{FF2B5EF4-FFF2-40B4-BE49-F238E27FC236}">
                <a16:creationId xmlns:a16="http://schemas.microsoft.com/office/drawing/2014/main" id="{059B38A0-6D1E-4B68-9B1F-A751104EBB36}"/>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3644931886"/>
      </p:ext>
    </p:extLst>
  </p:cSld>
  <p:clrMapOvr>
    <a:masterClrMapping/>
  </p:clrMapOvr>
  <p:extLst>
    <p:ext uri="{DCECCB84-F9BA-43D5-87BE-67443E8EF086}">
      <p15:sldGuideLst xmlns:p15="http://schemas.microsoft.com/office/powerpoint/2012/main">
        <p15:guide id="1" pos="279" userDrawn="1">
          <p15:clr>
            <a:srgbClr val="FBAE40"/>
          </p15:clr>
        </p15:guide>
        <p15:guide id="2" pos="386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9" name="Marcador de gráfico 3">
            <a:extLst>
              <a:ext uri="{FF2B5EF4-FFF2-40B4-BE49-F238E27FC236}">
                <a16:creationId xmlns:a16="http://schemas.microsoft.com/office/drawing/2014/main" id="{F883A945-8B98-4C8F-858C-D5C32AED72DC}"/>
              </a:ext>
            </a:extLst>
          </p:cNvPr>
          <p:cNvSpPr>
            <a:spLocks noGrp="1"/>
          </p:cNvSpPr>
          <p:nvPr>
            <p:ph type="chart" sz="quarter" idx="67" hasCustomPrompt="1"/>
          </p:nvPr>
        </p:nvSpPr>
        <p:spPr>
          <a:xfrm>
            <a:off x="6494142"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6" name="Marcador de texto 4">
            <a:extLst>
              <a:ext uri="{FF2B5EF4-FFF2-40B4-BE49-F238E27FC236}">
                <a16:creationId xmlns:a16="http://schemas.microsoft.com/office/drawing/2014/main" id="{70E2C192-9C51-40EA-BA3C-9FEF2008A715}"/>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7" name="Marcador de texto 4">
            <a:extLst>
              <a:ext uri="{FF2B5EF4-FFF2-40B4-BE49-F238E27FC236}">
                <a16:creationId xmlns:a16="http://schemas.microsoft.com/office/drawing/2014/main" id="{3E18A105-92ED-4D3F-9172-E546994C2FBE}"/>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08034275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4" name="Marcador de gráfico 3">
            <a:extLst>
              <a:ext uri="{FF2B5EF4-FFF2-40B4-BE49-F238E27FC236}">
                <a16:creationId xmlns:a16="http://schemas.microsoft.com/office/drawing/2014/main" id="{FFDE05C2-EC9B-41FE-A4E0-FD8CA733210B}"/>
              </a:ext>
            </a:extLst>
          </p:cNvPr>
          <p:cNvSpPr>
            <a:spLocks noGrp="1"/>
          </p:cNvSpPr>
          <p:nvPr>
            <p:ph type="chart" sz="quarter" idx="67" hasCustomPrompt="1"/>
          </p:nvPr>
        </p:nvSpPr>
        <p:spPr>
          <a:xfrm>
            <a:off x="4297801"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61011E59-E135-4A46-B920-4EEAB72ECC62}"/>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1986B9A0-C3FE-4058-9F5B-03EF81CE9C13}"/>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7" name="Marcador de gráfico 3">
            <a:extLst>
              <a:ext uri="{FF2B5EF4-FFF2-40B4-BE49-F238E27FC236}">
                <a16:creationId xmlns:a16="http://schemas.microsoft.com/office/drawing/2014/main" id="{5520C83F-30B6-4BCC-AB1D-1F75B0265E0E}"/>
              </a:ext>
            </a:extLst>
          </p:cNvPr>
          <p:cNvSpPr>
            <a:spLocks noGrp="1"/>
          </p:cNvSpPr>
          <p:nvPr>
            <p:ph type="chart" sz="quarter" idx="70" hasCustomPrompt="1"/>
          </p:nvPr>
        </p:nvSpPr>
        <p:spPr>
          <a:xfrm>
            <a:off x="815268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8" name="Marcador de texto 4">
            <a:extLst>
              <a:ext uri="{FF2B5EF4-FFF2-40B4-BE49-F238E27FC236}">
                <a16:creationId xmlns:a16="http://schemas.microsoft.com/office/drawing/2014/main" id="{5DE466A1-7019-45C8-8C50-A9A774E7D09B}"/>
              </a:ext>
            </a:extLst>
          </p:cNvPr>
          <p:cNvSpPr>
            <a:spLocks noGrp="1"/>
          </p:cNvSpPr>
          <p:nvPr>
            <p:ph type="body" sz="quarter" idx="71"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9" name="Marcador de texto 4">
            <a:extLst>
              <a:ext uri="{FF2B5EF4-FFF2-40B4-BE49-F238E27FC236}">
                <a16:creationId xmlns:a16="http://schemas.microsoft.com/office/drawing/2014/main" id="{B6ADAB0D-5732-4B9A-B577-C10E8BAD8A69}"/>
              </a:ext>
            </a:extLst>
          </p:cNvPr>
          <p:cNvSpPr>
            <a:spLocks noGrp="1"/>
          </p:cNvSpPr>
          <p:nvPr>
            <p:ph type="body" sz="quarter" idx="72"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220213504"/>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arts _2">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2" y="4466806"/>
            <a:ext cx="11309457" cy="1783685"/>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002422"/>
            <a:ext cx="11299916"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234617"/>
            <a:ext cx="11299916"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331612408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Tree>
    <p:extLst>
      <p:ext uri="{BB962C8B-B14F-4D97-AF65-F5344CB8AC3E}">
        <p14:creationId xmlns:p14="http://schemas.microsoft.com/office/powerpoint/2010/main" val="3558574211"/>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795067299"/>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2" name="Marcador de gráfico 3">
            <a:extLst>
              <a:ext uri="{FF2B5EF4-FFF2-40B4-BE49-F238E27FC236}">
                <a16:creationId xmlns:a16="http://schemas.microsoft.com/office/drawing/2014/main" id="{4E2E06AC-2387-4CA0-B018-BA38E75AD6AA}"/>
              </a:ext>
            </a:extLst>
          </p:cNvPr>
          <p:cNvSpPr>
            <a:spLocks noGrp="1"/>
          </p:cNvSpPr>
          <p:nvPr>
            <p:ph type="chart" sz="quarter" idx="79" hasCustomPrompt="1"/>
          </p:nvPr>
        </p:nvSpPr>
        <p:spPr>
          <a:xfrm>
            <a:off x="44291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3" name="Marcador de texto 4">
            <a:extLst>
              <a:ext uri="{FF2B5EF4-FFF2-40B4-BE49-F238E27FC236}">
                <a16:creationId xmlns:a16="http://schemas.microsoft.com/office/drawing/2014/main" id="{23EA909F-BF2E-47EA-8C08-CE7DA89662CB}"/>
              </a:ext>
            </a:extLst>
          </p:cNvPr>
          <p:cNvSpPr>
            <a:spLocks noGrp="1"/>
          </p:cNvSpPr>
          <p:nvPr>
            <p:ph type="body" sz="quarter" idx="80" hasCustomPrompt="1"/>
          </p:nvPr>
        </p:nvSpPr>
        <p:spPr>
          <a:xfrm>
            <a:off x="44291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4" name="Marcador de texto 4">
            <a:extLst>
              <a:ext uri="{FF2B5EF4-FFF2-40B4-BE49-F238E27FC236}">
                <a16:creationId xmlns:a16="http://schemas.microsoft.com/office/drawing/2014/main" id="{355E7AE0-BD93-46C5-BCC7-14BD463E075A}"/>
              </a:ext>
            </a:extLst>
          </p:cNvPr>
          <p:cNvSpPr>
            <a:spLocks noGrp="1"/>
          </p:cNvSpPr>
          <p:nvPr>
            <p:ph type="body" sz="quarter" idx="81" hasCustomPrompt="1"/>
          </p:nvPr>
        </p:nvSpPr>
        <p:spPr>
          <a:xfrm>
            <a:off x="43926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5" name="Marcador de gráfico 3">
            <a:extLst>
              <a:ext uri="{FF2B5EF4-FFF2-40B4-BE49-F238E27FC236}">
                <a16:creationId xmlns:a16="http://schemas.microsoft.com/office/drawing/2014/main" id="{08B65512-5B21-4DB0-8896-ACED07D4D643}"/>
              </a:ext>
            </a:extLst>
          </p:cNvPr>
          <p:cNvSpPr>
            <a:spLocks noGrp="1"/>
          </p:cNvSpPr>
          <p:nvPr>
            <p:ph type="chart" sz="quarter" idx="82" hasCustomPrompt="1"/>
          </p:nvPr>
        </p:nvSpPr>
        <p:spPr>
          <a:xfrm>
            <a:off x="4297801"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6" name="Marcador de texto 4">
            <a:extLst>
              <a:ext uri="{FF2B5EF4-FFF2-40B4-BE49-F238E27FC236}">
                <a16:creationId xmlns:a16="http://schemas.microsoft.com/office/drawing/2014/main" id="{0FCA213A-23E7-436A-8D39-3824699B8746}"/>
              </a:ext>
            </a:extLst>
          </p:cNvPr>
          <p:cNvSpPr>
            <a:spLocks noGrp="1"/>
          </p:cNvSpPr>
          <p:nvPr>
            <p:ph type="body" sz="quarter" idx="83" hasCustomPrompt="1"/>
          </p:nvPr>
        </p:nvSpPr>
        <p:spPr>
          <a:xfrm>
            <a:off x="4297801"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7" name="Marcador de texto 4">
            <a:extLst>
              <a:ext uri="{FF2B5EF4-FFF2-40B4-BE49-F238E27FC236}">
                <a16:creationId xmlns:a16="http://schemas.microsoft.com/office/drawing/2014/main" id="{174F2109-187F-4250-8346-C1303B029EB0}"/>
              </a:ext>
            </a:extLst>
          </p:cNvPr>
          <p:cNvSpPr>
            <a:spLocks noGrp="1"/>
          </p:cNvSpPr>
          <p:nvPr>
            <p:ph type="body" sz="quarter" idx="84" hasCustomPrompt="1"/>
          </p:nvPr>
        </p:nvSpPr>
        <p:spPr>
          <a:xfrm>
            <a:off x="4294147"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8" name="Marcador de gráfico 3">
            <a:extLst>
              <a:ext uri="{FF2B5EF4-FFF2-40B4-BE49-F238E27FC236}">
                <a16:creationId xmlns:a16="http://schemas.microsoft.com/office/drawing/2014/main" id="{FF2F0CF8-9ABD-49EA-9DEB-9F32DA2BB682}"/>
              </a:ext>
            </a:extLst>
          </p:cNvPr>
          <p:cNvSpPr>
            <a:spLocks noGrp="1"/>
          </p:cNvSpPr>
          <p:nvPr>
            <p:ph type="chart" sz="quarter" idx="85" hasCustomPrompt="1"/>
          </p:nvPr>
        </p:nvSpPr>
        <p:spPr>
          <a:xfrm>
            <a:off x="815268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9" name="Marcador de texto 4">
            <a:extLst>
              <a:ext uri="{FF2B5EF4-FFF2-40B4-BE49-F238E27FC236}">
                <a16:creationId xmlns:a16="http://schemas.microsoft.com/office/drawing/2014/main" id="{1B6AEDDD-1F36-41D0-BA5B-BEFE6F549DF5}"/>
              </a:ext>
            </a:extLst>
          </p:cNvPr>
          <p:cNvSpPr>
            <a:spLocks noGrp="1"/>
          </p:cNvSpPr>
          <p:nvPr>
            <p:ph type="body" sz="quarter" idx="86" hasCustomPrompt="1"/>
          </p:nvPr>
        </p:nvSpPr>
        <p:spPr>
          <a:xfrm>
            <a:off x="815268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50" name="Marcador de texto 4">
            <a:extLst>
              <a:ext uri="{FF2B5EF4-FFF2-40B4-BE49-F238E27FC236}">
                <a16:creationId xmlns:a16="http://schemas.microsoft.com/office/drawing/2014/main" id="{D36423C6-ADB0-41A1-8BB4-4CBC237F9235}"/>
              </a:ext>
            </a:extLst>
          </p:cNvPr>
          <p:cNvSpPr>
            <a:spLocks noGrp="1"/>
          </p:cNvSpPr>
          <p:nvPr>
            <p:ph type="body" sz="quarter" idx="87" hasCustomPrompt="1"/>
          </p:nvPr>
        </p:nvSpPr>
        <p:spPr>
          <a:xfrm>
            <a:off x="814903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96109905"/>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5375033" y="2362884"/>
            <a:ext cx="6374058" cy="3874400"/>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033" y="1709206"/>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Fuente Gráfico</a:t>
            </a:r>
          </a:p>
        </p:txBody>
      </p:sp>
      <p:sp>
        <p:nvSpPr>
          <p:cNvPr id="27" name="Marcador de texto 4">
            <a:extLst>
              <a:ext uri="{FF2B5EF4-FFF2-40B4-BE49-F238E27FC236}">
                <a16:creationId xmlns:a16="http://schemas.microsoft.com/office/drawing/2014/main" id="{52623ED4-9832-4D3C-86AB-17810BA9597C}"/>
              </a:ext>
            </a:extLst>
          </p:cNvPr>
          <p:cNvSpPr>
            <a:spLocks noGrp="1"/>
          </p:cNvSpPr>
          <p:nvPr>
            <p:ph type="body" sz="quarter" idx="24" hasCustomPrompt="1"/>
          </p:nvPr>
        </p:nvSpPr>
        <p:spPr>
          <a:xfrm>
            <a:off x="451961" y="2088364"/>
            <a:ext cx="4348641" cy="4148927"/>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9" name="Título 1">
            <a:extLst>
              <a:ext uri="{FF2B5EF4-FFF2-40B4-BE49-F238E27FC236}">
                <a16:creationId xmlns:a16="http://schemas.microsoft.com/office/drawing/2014/main" id="{E547FB6A-B2A8-4E74-A1D0-4AA782A7822D}"/>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1AD67BA4-DD3E-4381-8163-BE129D67768D}"/>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6008DE5B-261B-4F01-907C-992D726D5A6C}"/>
              </a:ext>
            </a:extLst>
          </p:cNvPr>
          <p:cNvSpPr>
            <a:spLocks noGrp="1"/>
          </p:cNvSpPr>
          <p:nvPr>
            <p:ph type="body" sz="quarter" idx="71" hasCustomPrompt="1"/>
          </p:nvPr>
        </p:nvSpPr>
        <p:spPr>
          <a:xfrm>
            <a:off x="448102" y="1709206"/>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2241890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275" y="1718244"/>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9" name="Marcador de texto 4">
            <a:extLst>
              <a:ext uri="{FF2B5EF4-FFF2-40B4-BE49-F238E27FC236}">
                <a16:creationId xmlns:a16="http://schemas.microsoft.com/office/drawing/2014/main" id="{5A0F4276-617C-4D27-90E7-83B5FBE89DD9}"/>
              </a:ext>
            </a:extLst>
          </p:cNvPr>
          <p:cNvSpPr>
            <a:spLocks noGrp="1"/>
          </p:cNvSpPr>
          <p:nvPr>
            <p:ph type="body" sz="quarter" idx="42" hasCustomPrompt="1"/>
          </p:nvPr>
        </p:nvSpPr>
        <p:spPr>
          <a:xfrm>
            <a:off x="462773" y="5170282"/>
            <a:ext cx="1792292" cy="665815"/>
          </a:xfrm>
          <a:prstGeom prst="rect">
            <a:avLst/>
          </a:prstGeom>
        </p:spPr>
        <p:txBody>
          <a:bodyPr lIns="0" tIns="0" rIns="0" bIns="0">
            <a:noAutofit/>
          </a:bodyPr>
          <a:lstStyle>
            <a:lvl1pPr marL="0" indent="0">
              <a:buNone/>
              <a:defRPr sz="455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0" name="Marcador de texto 4">
            <a:extLst>
              <a:ext uri="{FF2B5EF4-FFF2-40B4-BE49-F238E27FC236}">
                <a16:creationId xmlns:a16="http://schemas.microsoft.com/office/drawing/2014/main" id="{8D2C2761-CDB4-4DA9-B876-933C96254C84}"/>
              </a:ext>
            </a:extLst>
          </p:cNvPr>
          <p:cNvSpPr>
            <a:spLocks noGrp="1"/>
          </p:cNvSpPr>
          <p:nvPr>
            <p:ph type="body" sz="quarter" idx="43" hasCustomPrompt="1"/>
          </p:nvPr>
        </p:nvSpPr>
        <p:spPr>
          <a:xfrm>
            <a:off x="462771" y="5869963"/>
            <a:ext cx="1792294" cy="356715"/>
          </a:xfrm>
          <a:prstGeom prst="rect">
            <a:avLst/>
          </a:prstGeom>
        </p:spPr>
        <p:txBody>
          <a:bodyPr lIns="0" tIns="0" rIns="0" bIns="0">
            <a:noAutofit/>
          </a:bodyPr>
          <a:lstStyle>
            <a:lvl1pPr marL="0" indent="0">
              <a:buNone/>
              <a:defRPr sz="1138"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1" name="Marcador de texto 4">
            <a:extLst>
              <a:ext uri="{FF2B5EF4-FFF2-40B4-BE49-F238E27FC236}">
                <a16:creationId xmlns:a16="http://schemas.microsoft.com/office/drawing/2014/main" id="{AA63B073-320A-4355-B699-48658667B196}"/>
              </a:ext>
            </a:extLst>
          </p:cNvPr>
          <p:cNvSpPr>
            <a:spLocks noGrp="1"/>
          </p:cNvSpPr>
          <p:nvPr>
            <p:ph type="body" sz="quarter" idx="44" hasCustomPrompt="1"/>
          </p:nvPr>
        </p:nvSpPr>
        <p:spPr>
          <a:xfrm>
            <a:off x="462773" y="4929224"/>
            <a:ext cx="1792295" cy="241057"/>
          </a:xfrm>
          <a:prstGeom prst="rect">
            <a:avLst/>
          </a:prstGeom>
        </p:spPr>
        <p:txBody>
          <a:bodyPr lIns="0" tIns="0" rIns="0" bIns="0">
            <a:noAutofit/>
          </a:bodyPr>
          <a:lstStyle>
            <a:lvl1pPr marL="0" indent="0">
              <a:buNone/>
              <a:defRPr sz="1463" b="0"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2" name="Marcador de tabla 3">
            <a:extLst>
              <a:ext uri="{FF2B5EF4-FFF2-40B4-BE49-F238E27FC236}">
                <a16:creationId xmlns:a16="http://schemas.microsoft.com/office/drawing/2014/main" id="{AE2A4C76-F8EE-4514-92C7-7039A75D000C}"/>
              </a:ext>
            </a:extLst>
          </p:cNvPr>
          <p:cNvSpPr>
            <a:spLocks noGrp="1"/>
          </p:cNvSpPr>
          <p:nvPr>
            <p:ph type="tbl" sz="quarter" idx="10" hasCustomPrompt="1"/>
          </p:nvPr>
        </p:nvSpPr>
        <p:spPr>
          <a:xfrm>
            <a:off x="5375275" y="2451104"/>
            <a:ext cx="6337300" cy="3748087"/>
          </a:xfrm>
          <a:prstGeom prst="rect">
            <a:avLst/>
          </a:prstGeom>
        </p:spPr>
        <p:txBody>
          <a:bodyPr/>
          <a:lstStyle>
            <a:lvl1pPr marL="0" indent="0">
              <a:buNone/>
              <a:defRPr sz="900">
                <a:solidFill>
                  <a:schemeClr val="tx1"/>
                </a:solidFill>
                <a:latin typeface="Santander Text" panose="020B0504020201020104" pitchFamily="34" charset="0"/>
                <a:cs typeface="Arial" panose="020B0604020202020204" pitchFamily="34" charset="0"/>
              </a:defRPr>
            </a:lvl1pPr>
          </a:lstStyle>
          <a:p>
            <a:r>
              <a:rPr lang="es-ES" dirty="0"/>
              <a:t>Table</a:t>
            </a:r>
          </a:p>
        </p:txBody>
      </p:sp>
      <p:sp>
        <p:nvSpPr>
          <p:cNvPr id="13" name="Título 1">
            <a:extLst>
              <a:ext uri="{FF2B5EF4-FFF2-40B4-BE49-F238E27FC236}">
                <a16:creationId xmlns:a16="http://schemas.microsoft.com/office/drawing/2014/main" id="{7CCD8D0B-6C7D-4974-8558-CE14C479FC1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4" name="Conector recto 13">
            <a:extLst>
              <a:ext uri="{FF2B5EF4-FFF2-40B4-BE49-F238E27FC236}">
                <a16:creationId xmlns:a16="http://schemas.microsoft.com/office/drawing/2014/main" id="{267847D2-84E8-49DF-A466-4EFCFD1F9529}"/>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arcador de texto 4">
            <a:extLst>
              <a:ext uri="{FF2B5EF4-FFF2-40B4-BE49-F238E27FC236}">
                <a16:creationId xmlns:a16="http://schemas.microsoft.com/office/drawing/2014/main" id="{F8073D5C-2859-4AA4-9C1C-2936C57AA05D}"/>
              </a:ext>
            </a:extLst>
          </p:cNvPr>
          <p:cNvSpPr>
            <a:spLocks noGrp="1"/>
          </p:cNvSpPr>
          <p:nvPr>
            <p:ph type="body" sz="quarter" idx="24" hasCustomPrompt="1"/>
          </p:nvPr>
        </p:nvSpPr>
        <p:spPr>
          <a:xfrm>
            <a:off x="451961" y="2088362"/>
            <a:ext cx="4348641" cy="1839950"/>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6" name="Marcador de texto 4">
            <a:extLst>
              <a:ext uri="{FF2B5EF4-FFF2-40B4-BE49-F238E27FC236}">
                <a16:creationId xmlns:a16="http://schemas.microsoft.com/office/drawing/2014/main" id="{2EA63AC8-8AAF-42E8-9A2C-D7243285A806}"/>
              </a:ext>
            </a:extLst>
          </p:cNvPr>
          <p:cNvSpPr>
            <a:spLocks noGrp="1"/>
          </p:cNvSpPr>
          <p:nvPr>
            <p:ph type="body" sz="quarter" idx="71" hasCustomPrompt="1"/>
          </p:nvPr>
        </p:nvSpPr>
        <p:spPr>
          <a:xfrm>
            <a:off x="448345" y="1718244"/>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4082844666"/>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A91E7ABF-0433-4394-8396-5538B9613C12}"/>
              </a:ext>
            </a:extLst>
          </p:cNvPr>
          <p:cNvSpPr>
            <a:spLocks noGrp="1"/>
          </p:cNvSpPr>
          <p:nvPr>
            <p:ph type="body" sz="quarter" idx="10" hasCustomPrompt="1"/>
          </p:nvPr>
        </p:nvSpPr>
        <p:spPr>
          <a:xfrm>
            <a:off x="5375275" y="949592"/>
            <a:ext cx="6361561" cy="1781855"/>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sp>
        <p:nvSpPr>
          <p:cNvPr id="8" name="Marcador de texto 7">
            <a:extLst>
              <a:ext uri="{FF2B5EF4-FFF2-40B4-BE49-F238E27FC236}">
                <a16:creationId xmlns:a16="http://schemas.microsoft.com/office/drawing/2014/main" id="{4685FE03-4869-4534-B839-559C997EE376}"/>
              </a:ext>
            </a:extLst>
          </p:cNvPr>
          <p:cNvSpPr>
            <a:spLocks noGrp="1"/>
          </p:cNvSpPr>
          <p:nvPr>
            <p:ph type="body" sz="quarter" idx="11" hasCustomPrompt="1"/>
          </p:nvPr>
        </p:nvSpPr>
        <p:spPr>
          <a:xfrm>
            <a:off x="5375275" y="3043360"/>
            <a:ext cx="6361561" cy="1451781"/>
          </a:xfrm>
          <a:prstGeom prst="rect">
            <a:avLst/>
          </a:prstGeom>
        </p:spPr>
        <p:txBody>
          <a:bodyPr lIns="0"/>
          <a:lstStyle>
            <a:lvl1pPr>
              <a:lnSpc>
                <a:spcPct val="120000"/>
              </a:lnSpc>
              <a:buClr>
                <a:schemeClr val="accent1"/>
              </a:buClr>
              <a:defRPr sz="1200">
                <a:solidFill>
                  <a:schemeClr val="tx1"/>
                </a:solidFill>
                <a:latin typeface="Santander Text Light" panose="020B0304020201020104" pitchFamily="34" charset="0"/>
                <a:cs typeface="Arial" panose="020B0604020202020204" pitchFamily="34" charset="0"/>
              </a:defRPr>
            </a:lvl1pPr>
            <a:lvl2pPr marL="557213" indent="-185738">
              <a:lnSpc>
                <a:spcPct val="120000"/>
              </a:lnSpc>
              <a:buClr>
                <a:schemeClr val="accent1"/>
              </a:buClr>
              <a:buFont typeface="Calibri" panose="020F0502020204030204" pitchFamily="34" charset="0"/>
              <a:buChar char="–"/>
              <a:defRPr sz="1200">
                <a:solidFill>
                  <a:schemeClr val="tx1"/>
                </a:solidFill>
                <a:latin typeface="Santander Text Light" panose="020B0304020201020104" pitchFamily="34" charset="0"/>
              </a:defRPr>
            </a:lvl2pPr>
            <a:lvl3pPr>
              <a:defRPr sz="1138"/>
            </a:lvl3pPr>
            <a:lvl4pPr>
              <a:defRPr sz="1138"/>
            </a:lvl4pPr>
            <a:lvl5pPr>
              <a:defRPr sz="1138"/>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Marcador de texto 5">
            <a:extLst>
              <a:ext uri="{FF2B5EF4-FFF2-40B4-BE49-F238E27FC236}">
                <a16:creationId xmlns:a16="http://schemas.microsoft.com/office/drawing/2014/main" id="{5A39879E-2A01-473D-8528-AB922992A224}"/>
              </a:ext>
            </a:extLst>
          </p:cNvPr>
          <p:cNvSpPr>
            <a:spLocks noGrp="1"/>
          </p:cNvSpPr>
          <p:nvPr>
            <p:ph type="body" sz="quarter" idx="12" hasCustomPrompt="1"/>
          </p:nvPr>
        </p:nvSpPr>
        <p:spPr>
          <a:xfrm>
            <a:off x="5375275" y="4812270"/>
            <a:ext cx="6361561" cy="875519"/>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cxnSp>
        <p:nvCxnSpPr>
          <p:cNvPr id="13" name="Conector recto 12">
            <a:extLst>
              <a:ext uri="{FF2B5EF4-FFF2-40B4-BE49-F238E27FC236}">
                <a16:creationId xmlns:a16="http://schemas.microsoft.com/office/drawing/2014/main" id="{00BCC886-BD26-A54F-9C84-A80159F52E06}"/>
              </a:ext>
            </a:extLst>
          </p:cNvPr>
          <p:cNvCxnSpPr>
            <a:cxnSpLocks/>
          </p:cNvCxnSpPr>
          <p:nvPr userDrawn="1"/>
        </p:nvCxnSpPr>
        <p:spPr>
          <a:xfrm>
            <a:off x="5375020" y="794121"/>
            <a:ext cx="637407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ítulo 1">
            <a:extLst>
              <a:ext uri="{FF2B5EF4-FFF2-40B4-BE49-F238E27FC236}">
                <a16:creationId xmlns:a16="http://schemas.microsoft.com/office/drawing/2014/main" id="{CA13477E-CF4E-4ED8-B98D-E4C6479A2E44}"/>
              </a:ext>
            </a:extLst>
          </p:cNvPr>
          <p:cNvSpPr>
            <a:spLocks noGrp="1"/>
          </p:cNvSpPr>
          <p:nvPr>
            <p:ph type="ctrTitle" hasCustomPrompt="1"/>
          </p:nvPr>
        </p:nvSpPr>
        <p:spPr>
          <a:xfrm>
            <a:off x="439259" y="939173"/>
            <a:ext cx="4361342"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6B740C66-918D-4B8C-84FA-03A02C75119F}"/>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22754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325"/>
              </a:spcAft>
              <a:buNone/>
              <a:defRPr sz="800" b="0" i="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402234236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age with image_01 lines">
    <p:spTree>
      <p:nvGrpSpPr>
        <p:cNvPr id="1" name=""/>
        <p:cNvGrpSpPr/>
        <p:nvPr/>
      </p:nvGrpSpPr>
      <p:grpSpPr>
        <a:xfrm>
          <a:off x="0" y="0"/>
          <a:ext cx="0" cy="0"/>
          <a:chOff x="0" y="0"/>
          <a:chExt cx="0" cy="0"/>
        </a:xfrm>
      </p:grpSpPr>
      <p:pic>
        <p:nvPicPr>
          <p:cNvPr id="14" name="Imagen 13" descr="Persona en bicicleta en la calle&#10;&#10;Descripción generada automáticamente">
            <a:extLst>
              <a:ext uri="{FF2B5EF4-FFF2-40B4-BE49-F238E27FC236}">
                <a16:creationId xmlns:a16="http://schemas.microsoft.com/office/drawing/2014/main" id="{8F20059E-5452-476D-8A27-AB372DD43F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 t="39722" r="-2" b="12407"/>
          <a:stretch/>
        </p:blipFill>
        <p:spPr>
          <a:xfrm>
            <a:off x="-1" y="653147"/>
            <a:ext cx="12191999" cy="5507942"/>
          </a:xfrm>
          <a:prstGeom prst="rect">
            <a:avLst/>
          </a:prstGeom>
        </p:spPr>
      </p:pic>
      <p:sp>
        <p:nvSpPr>
          <p:cNvPr id="7" name="Rectángulo 6">
            <a:extLst>
              <a:ext uri="{FF2B5EF4-FFF2-40B4-BE49-F238E27FC236}">
                <a16:creationId xmlns:a16="http://schemas.microsoft.com/office/drawing/2014/main" id="{6B70D86C-2097-4806-9EA1-7E61F072D692}"/>
              </a:ext>
            </a:extLst>
          </p:cNvPr>
          <p:cNvSpPr/>
          <p:nvPr userDrawn="1"/>
        </p:nvSpPr>
        <p:spPr>
          <a:xfrm>
            <a:off x="0" y="653143"/>
            <a:ext cx="12009120" cy="5507944"/>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15" name="Conector recto 14">
            <a:extLst>
              <a:ext uri="{FF2B5EF4-FFF2-40B4-BE49-F238E27FC236}">
                <a16:creationId xmlns:a16="http://schemas.microsoft.com/office/drawing/2014/main" id="{C15B0DE2-9C1F-4FE2-BC9A-BBD11BF04F13}"/>
              </a:ext>
            </a:extLst>
          </p:cNvPr>
          <p:cNvCxnSpPr>
            <a:cxnSpLocks/>
          </p:cNvCxnSpPr>
          <p:nvPr userDrawn="1"/>
        </p:nvCxnSpPr>
        <p:spPr>
          <a:xfrm>
            <a:off x="2115054" y="25403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F69D26ED-3F85-462E-9EFE-DC512FF2144D}"/>
              </a:ext>
            </a:extLst>
          </p:cNvPr>
          <p:cNvCxnSpPr>
            <a:cxnSpLocks/>
          </p:cNvCxnSpPr>
          <p:nvPr userDrawn="1"/>
        </p:nvCxnSpPr>
        <p:spPr>
          <a:xfrm>
            <a:off x="6147198" y="20891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ítulo 1">
            <a:extLst>
              <a:ext uri="{FF2B5EF4-FFF2-40B4-BE49-F238E27FC236}">
                <a16:creationId xmlns:a16="http://schemas.microsoft.com/office/drawing/2014/main" id="{98C0A169-A00F-4D40-8022-D66C231EE05E}"/>
              </a:ext>
            </a:extLst>
          </p:cNvPr>
          <p:cNvSpPr>
            <a:spLocks noGrp="1"/>
          </p:cNvSpPr>
          <p:nvPr>
            <p:ph type="ctrTitle" hasCustomPrompt="1"/>
          </p:nvPr>
        </p:nvSpPr>
        <p:spPr>
          <a:xfrm>
            <a:off x="2115054" y="19361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8" name="Marcador de texto 4">
            <a:extLst>
              <a:ext uri="{FF2B5EF4-FFF2-40B4-BE49-F238E27FC236}">
                <a16:creationId xmlns:a16="http://schemas.microsoft.com/office/drawing/2014/main" id="{1EBB1587-AF66-486A-B319-BB8EE2424E21}"/>
              </a:ext>
            </a:extLst>
          </p:cNvPr>
          <p:cNvSpPr>
            <a:spLocks noGrp="1"/>
          </p:cNvSpPr>
          <p:nvPr>
            <p:ph type="body" sz="quarter" idx="47" hasCustomPrompt="1"/>
          </p:nvPr>
        </p:nvSpPr>
        <p:spPr>
          <a:xfrm>
            <a:off x="6295899" y="13682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86748775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6" y="873128"/>
            <a:ext cx="2107342"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2" name="Gráfico 11">
            <a:extLst>
              <a:ext uri="{FF2B5EF4-FFF2-40B4-BE49-F238E27FC236}">
                <a16:creationId xmlns:a16="http://schemas.microsoft.com/office/drawing/2014/main" id="{F3B9D313-2516-4CAE-86F3-95C2C3374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3836123771"/>
      </p:ext>
    </p:extLst>
  </p:cSld>
  <p:clrMapOvr>
    <a:masterClrMapping/>
  </p:clrMapOvr>
  <p:extLst>
    <p:ext uri="{DCECCB84-F9BA-43D5-87BE-67443E8EF086}">
      <p15:sldGuideLst xmlns:p15="http://schemas.microsoft.com/office/powerpoint/2012/main">
        <p15:guide id="1" pos="2919"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ighlights 2">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4800602" y="0"/>
            <a:ext cx="7391399"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040435"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3110123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CD7C8FD9-0F64-E105-AD01-1E72322786E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tretch>
            <a:fillRect/>
          </a:stretch>
        </p:blipFill>
        <p:spPr>
          <a:xfrm>
            <a:off x="0" y="234"/>
            <a:ext cx="12192000" cy="6857531"/>
          </a:xfrm>
          <a:prstGeom prst="rect">
            <a:avLst/>
          </a:prstGeom>
        </p:spPr>
      </p:pic>
      <p:sp>
        <p:nvSpPr>
          <p:cNvPr id="5" name="Rectángulo 4">
            <a:extLst>
              <a:ext uri="{FF2B5EF4-FFF2-40B4-BE49-F238E27FC236}">
                <a16:creationId xmlns:a16="http://schemas.microsoft.com/office/drawing/2014/main" id="{286D69F9-71BD-9003-8D06-90DB4A19F269}"/>
              </a:ext>
            </a:extLst>
          </p:cNvPr>
          <p:cNvSpPr/>
          <p:nvPr userDrawn="1"/>
        </p:nvSpPr>
        <p:spPr>
          <a:xfrm>
            <a:off x="0" y="0"/>
            <a:ext cx="12192000" cy="6858000"/>
          </a:xfrm>
          <a:prstGeom prst="rect">
            <a:avLst/>
          </a:prstGeom>
          <a:solidFill>
            <a:schemeClr val="accent1">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Gráfico 20">
            <a:extLst>
              <a:ext uri="{FF2B5EF4-FFF2-40B4-BE49-F238E27FC236}">
                <a16:creationId xmlns:a16="http://schemas.microsoft.com/office/drawing/2014/main" id="{F3A5A4CB-DF0B-8DF6-EDF3-C701B5F0E494}"/>
              </a:ext>
            </a:extLst>
          </p:cNvPr>
          <p:cNvSpPr/>
          <p:nvPr userDrawn="1"/>
        </p:nvSpPr>
        <p:spPr>
          <a:xfrm>
            <a:off x="9424988" y="573088"/>
            <a:ext cx="2189162" cy="592518"/>
          </a:xfrm>
          <a:custGeom>
            <a:avLst/>
            <a:gdLst>
              <a:gd name="connsiteX0" fmla="*/ 391413 w 1715044"/>
              <a:gd name="connsiteY0" fmla="*/ 400655 h 464193"/>
              <a:gd name="connsiteX1" fmla="*/ 339050 w 1715044"/>
              <a:gd name="connsiteY1" fmla="*/ 400655 h 464193"/>
              <a:gd name="connsiteX2" fmla="*/ 329223 w 1715044"/>
              <a:gd name="connsiteY2" fmla="*/ 429284 h 464193"/>
              <a:gd name="connsiteX3" fmla="*/ 316682 w 1715044"/>
              <a:gd name="connsiteY3" fmla="*/ 429284 h 464193"/>
              <a:gd name="connsiteX4" fmla="*/ 357515 w 1715044"/>
              <a:gd name="connsiteY4" fmla="*/ 312708 h 464193"/>
              <a:gd name="connsiteX5" fmla="*/ 372433 w 1715044"/>
              <a:gd name="connsiteY5" fmla="*/ 311183 h 464193"/>
              <a:gd name="connsiteX6" fmla="*/ 413781 w 1715044"/>
              <a:gd name="connsiteY6" fmla="*/ 429284 h 464193"/>
              <a:gd name="connsiteX7" fmla="*/ 401240 w 1715044"/>
              <a:gd name="connsiteY7" fmla="*/ 429284 h 464193"/>
              <a:gd name="connsiteX8" fmla="*/ 391413 w 1715044"/>
              <a:gd name="connsiteY8" fmla="*/ 400655 h 464193"/>
              <a:gd name="connsiteX9" fmla="*/ 387688 w 1715044"/>
              <a:gd name="connsiteY9" fmla="*/ 389462 h 464193"/>
              <a:gd name="connsiteX10" fmla="*/ 365320 w 1715044"/>
              <a:gd name="connsiteY10" fmla="*/ 323546 h 464193"/>
              <a:gd name="connsiteX11" fmla="*/ 342793 w 1715044"/>
              <a:gd name="connsiteY11" fmla="*/ 389462 h 464193"/>
              <a:gd name="connsiteX12" fmla="*/ 387688 w 1715044"/>
              <a:gd name="connsiteY12" fmla="*/ 389462 h 464193"/>
              <a:gd name="connsiteX13" fmla="*/ 421231 w 1715044"/>
              <a:gd name="connsiteY13" fmla="*/ 424708 h 464193"/>
              <a:gd name="connsiteX14" fmla="*/ 422934 w 1715044"/>
              <a:gd name="connsiteY14" fmla="*/ 414366 h 464193"/>
              <a:gd name="connsiteX15" fmla="*/ 450553 w 1715044"/>
              <a:gd name="connsiteY15" fmla="*/ 420983 h 464193"/>
              <a:gd name="connsiteX16" fmla="*/ 471555 w 1715044"/>
              <a:gd name="connsiteY16" fmla="*/ 407253 h 464193"/>
              <a:gd name="connsiteX17" fmla="*/ 454100 w 1715044"/>
              <a:gd name="connsiteY17" fmla="*/ 390987 h 464193"/>
              <a:gd name="connsiteX18" fmla="*/ 446313 w 1715044"/>
              <a:gd name="connsiteY18" fmla="*/ 388610 h 464193"/>
              <a:gd name="connsiteX19" fmla="*/ 422934 w 1715044"/>
              <a:gd name="connsiteY19" fmla="*/ 362854 h 464193"/>
              <a:gd name="connsiteX20" fmla="*/ 453604 w 1715044"/>
              <a:gd name="connsiteY20" fmla="*/ 339812 h 464193"/>
              <a:gd name="connsiteX21" fmla="*/ 480371 w 1715044"/>
              <a:gd name="connsiteY21" fmla="*/ 344211 h 464193"/>
              <a:gd name="connsiteX22" fmla="*/ 478668 w 1715044"/>
              <a:gd name="connsiteY22" fmla="*/ 354216 h 464193"/>
              <a:gd name="connsiteX23" fmla="*/ 453923 w 1715044"/>
              <a:gd name="connsiteY23" fmla="*/ 349976 h 464193"/>
              <a:gd name="connsiteX24" fmla="*/ 434269 w 1715044"/>
              <a:gd name="connsiteY24" fmla="*/ 362517 h 464193"/>
              <a:gd name="connsiteX25" fmla="*/ 451386 w 1715044"/>
              <a:gd name="connsiteY25" fmla="*/ 378446 h 464193"/>
              <a:gd name="connsiteX26" fmla="*/ 459351 w 1715044"/>
              <a:gd name="connsiteY26" fmla="*/ 381160 h 464193"/>
              <a:gd name="connsiteX27" fmla="*/ 483067 w 1715044"/>
              <a:gd name="connsiteY27" fmla="*/ 406916 h 464193"/>
              <a:gd name="connsiteX28" fmla="*/ 450872 w 1715044"/>
              <a:gd name="connsiteY28" fmla="*/ 431306 h 464193"/>
              <a:gd name="connsiteX29" fmla="*/ 421231 w 1715044"/>
              <a:gd name="connsiteY29" fmla="*/ 424708 h 464193"/>
              <a:gd name="connsiteX30" fmla="*/ 495271 w 1715044"/>
              <a:gd name="connsiteY30" fmla="*/ 424708 h 464193"/>
              <a:gd name="connsiteX31" fmla="*/ 496974 w 1715044"/>
              <a:gd name="connsiteY31" fmla="*/ 414366 h 464193"/>
              <a:gd name="connsiteX32" fmla="*/ 524592 w 1715044"/>
              <a:gd name="connsiteY32" fmla="*/ 420983 h 464193"/>
              <a:gd name="connsiteX33" fmla="*/ 545594 w 1715044"/>
              <a:gd name="connsiteY33" fmla="*/ 407253 h 464193"/>
              <a:gd name="connsiteX34" fmla="*/ 528140 w 1715044"/>
              <a:gd name="connsiteY34" fmla="*/ 390987 h 464193"/>
              <a:gd name="connsiteX35" fmla="*/ 520353 w 1715044"/>
              <a:gd name="connsiteY35" fmla="*/ 388610 h 464193"/>
              <a:gd name="connsiteX36" fmla="*/ 496974 w 1715044"/>
              <a:gd name="connsiteY36" fmla="*/ 362854 h 464193"/>
              <a:gd name="connsiteX37" fmla="*/ 527643 w 1715044"/>
              <a:gd name="connsiteY37" fmla="*/ 339812 h 464193"/>
              <a:gd name="connsiteX38" fmla="*/ 554410 w 1715044"/>
              <a:gd name="connsiteY38" fmla="*/ 344211 h 464193"/>
              <a:gd name="connsiteX39" fmla="*/ 552708 w 1715044"/>
              <a:gd name="connsiteY39" fmla="*/ 354216 h 464193"/>
              <a:gd name="connsiteX40" fmla="*/ 527963 w 1715044"/>
              <a:gd name="connsiteY40" fmla="*/ 349976 h 464193"/>
              <a:gd name="connsiteX41" fmla="*/ 508309 w 1715044"/>
              <a:gd name="connsiteY41" fmla="*/ 362517 h 464193"/>
              <a:gd name="connsiteX42" fmla="*/ 525426 w 1715044"/>
              <a:gd name="connsiteY42" fmla="*/ 378446 h 464193"/>
              <a:gd name="connsiteX43" fmla="*/ 533391 w 1715044"/>
              <a:gd name="connsiteY43" fmla="*/ 381160 h 464193"/>
              <a:gd name="connsiteX44" fmla="*/ 557107 w 1715044"/>
              <a:gd name="connsiteY44" fmla="*/ 406916 h 464193"/>
              <a:gd name="connsiteX45" fmla="*/ 524912 w 1715044"/>
              <a:gd name="connsiteY45" fmla="*/ 431306 h 464193"/>
              <a:gd name="connsiteX46" fmla="*/ 495271 w 1715044"/>
              <a:gd name="connsiteY46" fmla="*/ 424708 h 464193"/>
              <a:gd name="connsiteX47" fmla="*/ 642854 w 1715044"/>
              <a:gd name="connsiteY47" fmla="*/ 389639 h 464193"/>
              <a:gd name="connsiteX48" fmla="*/ 580166 w 1715044"/>
              <a:gd name="connsiteY48" fmla="*/ 389639 h 464193"/>
              <a:gd name="connsiteX49" fmla="*/ 611687 w 1715044"/>
              <a:gd name="connsiteY49" fmla="*/ 420823 h 464193"/>
              <a:gd name="connsiteX50" fmla="*/ 640157 w 1715044"/>
              <a:gd name="connsiteY50" fmla="*/ 413533 h 464193"/>
              <a:gd name="connsiteX51" fmla="*/ 638295 w 1715044"/>
              <a:gd name="connsiteY51" fmla="*/ 424885 h 464193"/>
              <a:gd name="connsiteX52" fmla="*/ 611350 w 1715044"/>
              <a:gd name="connsiteY52" fmla="*/ 431324 h 464193"/>
              <a:gd name="connsiteX53" fmla="*/ 568140 w 1715044"/>
              <a:gd name="connsiteY53" fmla="*/ 385063 h 464193"/>
              <a:gd name="connsiteX54" fmla="*/ 607288 w 1715044"/>
              <a:gd name="connsiteY54" fmla="*/ 339830 h 464193"/>
              <a:gd name="connsiteX55" fmla="*/ 643545 w 1715044"/>
              <a:gd name="connsiteY55" fmla="*/ 379138 h 464193"/>
              <a:gd name="connsiteX56" fmla="*/ 642854 w 1715044"/>
              <a:gd name="connsiteY56" fmla="*/ 389639 h 464193"/>
              <a:gd name="connsiteX57" fmla="*/ 580166 w 1715044"/>
              <a:gd name="connsiteY57" fmla="*/ 378961 h 464193"/>
              <a:gd name="connsiteX58" fmla="*/ 631678 w 1715044"/>
              <a:gd name="connsiteY58" fmla="*/ 378961 h 464193"/>
              <a:gd name="connsiteX59" fmla="*/ 631678 w 1715044"/>
              <a:gd name="connsiteY59" fmla="*/ 378287 h 464193"/>
              <a:gd name="connsiteX60" fmla="*/ 606774 w 1715044"/>
              <a:gd name="connsiteY60" fmla="*/ 350154 h 464193"/>
              <a:gd name="connsiteX61" fmla="*/ 580166 w 1715044"/>
              <a:gd name="connsiteY61" fmla="*/ 378961 h 464193"/>
              <a:gd name="connsiteX62" fmla="*/ 704193 w 1715044"/>
              <a:gd name="connsiteY62" fmla="*/ 418446 h 464193"/>
              <a:gd name="connsiteX63" fmla="*/ 702667 w 1715044"/>
              <a:gd name="connsiteY63" fmla="*/ 428610 h 464193"/>
              <a:gd name="connsiteX64" fmla="*/ 687412 w 1715044"/>
              <a:gd name="connsiteY64" fmla="*/ 431324 h 464193"/>
              <a:gd name="connsiteX65" fmla="*/ 661142 w 1715044"/>
              <a:gd name="connsiteY65" fmla="*/ 404220 h 464193"/>
              <a:gd name="connsiteX66" fmla="*/ 661142 w 1715044"/>
              <a:gd name="connsiteY66" fmla="*/ 312903 h 464193"/>
              <a:gd name="connsiteX67" fmla="*/ 673009 w 1715044"/>
              <a:gd name="connsiteY67" fmla="*/ 311041 h 464193"/>
              <a:gd name="connsiteX68" fmla="*/ 673009 w 1715044"/>
              <a:gd name="connsiteY68" fmla="*/ 342384 h 464193"/>
              <a:gd name="connsiteX69" fmla="*/ 703678 w 1715044"/>
              <a:gd name="connsiteY69" fmla="*/ 342384 h 464193"/>
              <a:gd name="connsiteX70" fmla="*/ 702490 w 1715044"/>
              <a:gd name="connsiteY70" fmla="*/ 353063 h 464193"/>
              <a:gd name="connsiteX71" fmla="*/ 673009 w 1715044"/>
              <a:gd name="connsiteY71" fmla="*/ 353063 h 464193"/>
              <a:gd name="connsiteX72" fmla="*/ 673009 w 1715044"/>
              <a:gd name="connsiteY72" fmla="*/ 402872 h 464193"/>
              <a:gd name="connsiteX73" fmla="*/ 689452 w 1715044"/>
              <a:gd name="connsiteY73" fmla="*/ 421178 h 464193"/>
              <a:gd name="connsiteX74" fmla="*/ 704193 w 1715044"/>
              <a:gd name="connsiteY74" fmla="*/ 418446 h 464193"/>
              <a:gd name="connsiteX75" fmla="*/ 870241 w 1715044"/>
              <a:gd name="connsiteY75" fmla="*/ 429284 h 464193"/>
              <a:gd name="connsiteX76" fmla="*/ 857877 w 1715044"/>
              <a:gd name="connsiteY76" fmla="*/ 429284 h 464193"/>
              <a:gd name="connsiteX77" fmla="*/ 854312 w 1715044"/>
              <a:gd name="connsiteY77" fmla="*/ 376247 h 464193"/>
              <a:gd name="connsiteX78" fmla="*/ 851935 w 1715044"/>
              <a:gd name="connsiteY78" fmla="*/ 328797 h 464193"/>
              <a:gd name="connsiteX79" fmla="*/ 832103 w 1715044"/>
              <a:gd name="connsiteY79" fmla="*/ 380468 h 464193"/>
              <a:gd name="connsiteX80" fmla="*/ 812449 w 1715044"/>
              <a:gd name="connsiteY80" fmla="*/ 429266 h 464193"/>
              <a:gd name="connsiteX81" fmla="*/ 803474 w 1715044"/>
              <a:gd name="connsiteY81" fmla="*/ 429266 h 464193"/>
              <a:gd name="connsiteX82" fmla="*/ 782472 w 1715044"/>
              <a:gd name="connsiteY82" fmla="*/ 375892 h 464193"/>
              <a:gd name="connsiteX83" fmla="*/ 764858 w 1715044"/>
              <a:gd name="connsiteY83" fmla="*/ 328956 h 464193"/>
              <a:gd name="connsiteX84" fmla="*/ 761984 w 1715044"/>
              <a:gd name="connsiteY84" fmla="*/ 377240 h 464193"/>
              <a:gd name="connsiteX85" fmla="*/ 757922 w 1715044"/>
              <a:gd name="connsiteY85" fmla="*/ 429249 h 464193"/>
              <a:gd name="connsiteX86" fmla="*/ 745718 w 1715044"/>
              <a:gd name="connsiteY86" fmla="*/ 429249 h 464193"/>
              <a:gd name="connsiteX87" fmla="*/ 754871 w 1715044"/>
              <a:gd name="connsiteY87" fmla="*/ 312673 h 464193"/>
              <a:gd name="connsiteX88" fmla="*/ 769434 w 1715044"/>
              <a:gd name="connsiteY88" fmla="*/ 310810 h 464193"/>
              <a:gd name="connsiteX89" fmla="*/ 808228 w 1715044"/>
              <a:gd name="connsiteY89" fmla="*/ 410606 h 464193"/>
              <a:gd name="connsiteX90" fmla="*/ 846525 w 1715044"/>
              <a:gd name="connsiteY90" fmla="*/ 312673 h 464193"/>
              <a:gd name="connsiteX91" fmla="*/ 861443 w 1715044"/>
              <a:gd name="connsiteY91" fmla="*/ 310810 h 464193"/>
              <a:gd name="connsiteX92" fmla="*/ 870241 w 1715044"/>
              <a:gd name="connsiteY92" fmla="*/ 429284 h 464193"/>
              <a:gd name="connsiteX93" fmla="*/ 960369 w 1715044"/>
              <a:gd name="connsiteY93" fmla="*/ 344566 h 464193"/>
              <a:gd name="connsiteX94" fmla="*/ 960369 w 1715044"/>
              <a:gd name="connsiteY94" fmla="*/ 429284 h 464193"/>
              <a:gd name="connsiteX95" fmla="*/ 949354 w 1715044"/>
              <a:gd name="connsiteY95" fmla="*/ 429284 h 464193"/>
              <a:gd name="connsiteX96" fmla="*/ 949016 w 1715044"/>
              <a:gd name="connsiteY96" fmla="*/ 422686 h 464193"/>
              <a:gd name="connsiteX97" fmla="*/ 925974 w 1715044"/>
              <a:gd name="connsiteY97" fmla="*/ 431324 h 464193"/>
              <a:gd name="connsiteX98" fmla="*/ 887003 w 1715044"/>
              <a:gd name="connsiteY98" fmla="*/ 386251 h 464193"/>
              <a:gd name="connsiteX99" fmla="*/ 932076 w 1715044"/>
              <a:gd name="connsiteY99" fmla="*/ 339830 h 464193"/>
              <a:gd name="connsiteX100" fmla="*/ 960369 w 1715044"/>
              <a:gd name="connsiteY100" fmla="*/ 344566 h 464193"/>
              <a:gd name="connsiteX101" fmla="*/ 927003 w 1715044"/>
              <a:gd name="connsiteY101" fmla="*/ 421497 h 464193"/>
              <a:gd name="connsiteX102" fmla="*/ 948520 w 1715044"/>
              <a:gd name="connsiteY102" fmla="*/ 412859 h 464193"/>
              <a:gd name="connsiteX103" fmla="*/ 948520 w 1715044"/>
              <a:gd name="connsiteY103" fmla="*/ 352371 h 464193"/>
              <a:gd name="connsiteX104" fmla="*/ 932076 w 1715044"/>
              <a:gd name="connsiteY104" fmla="*/ 350331 h 464193"/>
              <a:gd name="connsiteX105" fmla="*/ 899030 w 1715044"/>
              <a:gd name="connsiteY105" fmla="*/ 386251 h 464193"/>
              <a:gd name="connsiteX106" fmla="*/ 927003 w 1715044"/>
              <a:gd name="connsiteY106" fmla="*/ 421497 h 464193"/>
              <a:gd name="connsiteX107" fmla="*/ 1053566 w 1715044"/>
              <a:gd name="connsiteY107" fmla="*/ 372007 h 464193"/>
              <a:gd name="connsiteX108" fmla="*/ 1053566 w 1715044"/>
              <a:gd name="connsiteY108" fmla="*/ 429284 h 464193"/>
              <a:gd name="connsiteX109" fmla="*/ 1041699 w 1715044"/>
              <a:gd name="connsiteY109" fmla="*/ 429284 h 464193"/>
              <a:gd name="connsiteX110" fmla="*/ 1041699 w 1715044"/>
              <a:gd name="connsiteY110" fmla="*/ 374225 h 464193"/>
              <a:gd name="connsiteX111" fmla="*/ 1014932 w 1715044"/>
              <a:gd name="connsiteY111" fmla="*/ 350331 h 464193"/>
              <a:gd name="connsiteX112" fmla="*/ 995278 w 1715044"/>
              <a:gd name="connsiteY112" fmla="*/ 352708 h 464193"/>
              <a:gd name="connsiteX113" fmla="*/ 995278 w 1715044"/>
              <a:gd name="connsiteY113" fmla="*/ 429284 h 464193"/>
              <a:gd name="connsiteX114" fmla="*/ 983411 w 1715044"/>
              <a:gd name="connsiteY114" fmla="*/ 429284 h 464193"/>
              <a:gd name="connsiteX115" fmla="*/ 983411 w 1715044"/>
              <a:gd name="connsiteY115" fmla="*/ 344566 h 464193"/>
              <a:gd name="connsiteX116" fmla="*/ 1015269 w 1715044"/>
              <a:gd name="connsiteY116" fmla="*/ 339830 h 464193"/>
              <a:gd name="connsiteX117" fmla="*/ 1053566 w 1715044"/>
              <a:gd name="connsiteY117" fmla="*/ 372007 h 464193"/>
              <a:gd name="connsiteX118" fmla="*/ 1144386 w 1715044"/>
              <a:gd name="connsiteY118" fmla="*/ 344566 h 464193"/>
              <a:gd name="connsiteX119" fmla="*/ 1144386 w 1715044"/>
              <a:gd name="connsiteY119" fmla="*/ 429284 h 464193"/>
              <a:gd name="connsiteX120" fmla="*/ 1133371 w 1715044"/>
              <a:gd name="connsiteY120" fmla="*/ 429284 h 464193"/>
              <a:gd name="connsiteX121" fmla="*/ 1133034 w 1715044"/>
              <a:gd name="connsiteY121" fmla="*/ 422686 h 464193"/>
              <a:gd name="connsiteX122" fmla="*/ 1109992 w 1715044"/>
              <a:gd name="connsiteY122" fmla="*/ 431324 h 464193"/>
              <a:gd name="connsiteX123" fmla="*/ 1071020 w 1715044"/>
              <a:gd name="connsiteY123" fmla="*/ 386251 h 464193"/>
              <a:gd name="connsiteX124" fmla="*/ 1116094 w 1715044"/>
              <a:gd name="connsiteY124" fmla="*/ 339830 h 464193"/>
              <a:gd name="connsiteX125" fmla="*/ 1144386 w 1715044"/>
              <a:gd name="connsiteY125" fmla="*/ 344566 h 464193"/>
              <a:gd name="connsiteX126" fmla="*/ 1111003 w 1715044"/>
              <a:gd name="connsiteY126" fmla="*/ 421497 h 464193"/>
              <a:gd name="connsiteX127" fmla="*/ 1132519 w 1715044"/>
              <a:gd name="connsiteY127" fmla="*/ 412859 h 464193"/>
              <a:gd name="connsiteX128" fmla="*/ 1132519 w 1715044"/>
              <a:gd name="connsiteY128" fmla="*/ 352371 h 464193"/>
              <a:gd name="connsiteX129" fmla="*/ 1116094 w 1715044"/>
              <a:gd name="connsiteY129" fmla="*/ 350331 h 464193"/>
              <a:gd name="connsiteX130" fmla="*/ 1083047 w 1715044"/>
              <a:gd name="connsiteY130" fmla="*/ 386251 h 464193"/>
              <a:gd name="connsiteX131" fmla="*/ 1111003 w 1715044"/>
              <a:gd name="connsiteY131" fmla="*/ 421497 h 464193"/>
              <a:gd name="connsiteX132" fmla="*/ 1236217 w 1715044"/>
              <a:gd name="connsiteY132" fmla="*/ 344566 h 464193"/>
              <a:gd name="connsiteX133" fmla="*/ 1236217 w 1715044"/>
              <a:gd name="connsiteY133" fmla="*/ 426074 h 464193"/>
              <a:gd name="connsiteX134" fmla="*/ 1195561 w 1715044"/>
              <a:gd name="connsiteY134" fmla="*/ 464193 h 464193"/>
              <a:gd name="connsiteX135" fmla="*/ 1170142 w 1715044"/>
              <a:gd name="connsiteY135" fmla="*/ 459280 h 464193"/>
              <a:gd name="connsiteX136" fmla="*/ 1171331 w 1715044"/>
              <a:gd name="connsiteY136" fmla="*/ 448779 h 464193"/>
              <a:gd name="connsiteX137" fmla="*/ 1195561 w 1715044"/>
              <a:gd name="connsiteY137" fmla="*/ 454029 h 464193"/>
              <a:gd name="connsiteX138" fmla="*/ 1224368 w 1715044"/>
              <a:gd name="connsiteY138" fmla="*/ 427599 h 464193"/>
              <a:gd name="connsiteX139" fmla="*/ 1224368 w 1715044"/>
              <a:gd name="connsiteY139" fmla="*/ 423023 h 464193"/>
              <a:gd name="connsiteX140" fmla="*/ 1201840 w 1715044"/>
              <a:gd name="connsiteY140" fmla="*/ 431324 h 464193"/>
              <a:gd name="connsiteX141" fmla="*/ 1162869 w 1715044"/>
              <a:gd name="connsiteY141" fmla="*/ 386251 h 464193"/>
              <a:gd name="connsiteX142" fmla="*/ 1207942 w 1715044"/>
              <a:gd name="connsiteY142" fmla="*/ 339830 h 464193"/>
              <a:gd name="connsiteX143" fmla="*/ 1236217 w 1715044"/>
              <a:gd name="connsiteY143" fmla="*/ 344566 h 464193"/>
              <a:gd name="connsiteX144" fmla="*/ 1224350 w 1715044"/>
              <a:gd name="connsiteY144" fmla="*/ 412841 h 464193"/>
              <a:gd name="connsiteX145" fmla="*/ 1224350 w 1715044"/>
              <a:gd name="connsiteY145" fmla="*/ 352353 h 464193"/>
              <a:gd name="connsiteX146" fmla="*/ 1207907 w 1715044"/>
              <a:gd name="connsiteY146" fmla="*/ 350313 h 464193"/>
              <a:gd name="connsiteX147" fmla="*/ 1174860 w 1715044"/>
              <a:gd name="connsiteY147" fmla="*/ 386233 h 464193"/>
              <a:gd name="connsiteX148" fmla="*/ 1202816 w 1715044"/>
              <a:gd name="connsiteY148" fmla="*/ 421479 h 464193"/>
              <a:gd name="connsiteX149" fmla="*/ 1224350 w 1715044"/>
              <a:gd name="connsiteY149" fmla="*/ 412841 h 464193"/>
              <a:gd name="connsiteX150" fmla="*/ 1325352 w 1715044"/>
              <a:gd name="connsiteY150" fmla="*/ 389639 h 464193"/>
              <a:gd name="connsiteX151" fmla="*/ 1262665 w 1715044"/>
              <a:gd name="connsiteY151" fmla="*/ 389639 h 464193"/>
              <a:gd name="connsiteX152" fmla="*/ 1294186 w 1715044"/>
              <a:gd name="connsiteY152" fmla="*/ 420823 h 464193"/>
              <a:gd name="connsiteX153" fmla="*/ 1322656 w 1715044"/>
              <a:gd name="connsiteY153" fmla="*/ 413533 h 464193"/>
              <a:gd name="connsiteX154" fmla="*/ 1320793 w 1715044"/>
              <a:gd name="connsiteY154" fmla="*/ 424885 h 464193"/>
              <a:gd name="connsiteX155" fmla="*/ 1293849 w 1715044"/>
              <a:gd name="connsiteY155" fmla="*/ 431324 h 464193"/>
              <a:gd name="connsiteX156" fmla="*/ 1250638 w 1715044"/>
              <a:gd name="connsiteY156" fmla="*/ 385063 h 464193"/>
              <a:gd name="connsiteX157" fmla="*/ 1289769 w 1715044"/>
              <a:gd name="connsiteY157" fmla="*/ 339830 h 464193"/>
              <a:gd name="connsiteX158" fmla="*/ 1326026 w 1715044"/>
              <a:gd name="connsiteY158" fmla="*/ 379138 h 464193"/>
              <a:gd name="connsiteX159" fmla="*/ 1325352 w 1715044"/>
              <a:gd name="connsiteY159" fmla="*/ 389639 h 464193"/>
              <a:gd name="connsiteX160" fmla="*/ 1262647 w 1715044"/>
              <a:gd name="connsiteY160" fmla="*/ 378961 h 464193"/>
              <a:gd name="connsiteX161" fmla="*/ 1314159 w 1715044"/>
              <a:gd name="connsiteY161" fmla="*/ 378961 h 464193"/>
              <a:gd name="connsiteX162" fmla="*/ 1314159 w 1715044"/>
              <a:gd name="connsiteY162" fmla="*/ 378287 h 464193"/>
              <a:gd name="connsiteX163" fmla="*/ 1289255 w 1715044"/>
              <a:gd name="connsiteY163" fmla="*/ 350154 h 464193"/>
              <a:gd name="connsiteX164" fmla="*/ 1262647 w 1715044"/>
              <a:gd name="connsiteY164" fmla="*/ 378961 h 464193"/>
              <a:gd name="connsiteX165" fmla="*/ 1470043 w 1715044"/>
              <a:gd name="connsiteY165" fmla="*/ 372007 h 464193"/>
              <a:gd name="connsiteX166" fmla="*/ 1470043 w 1715044"/>
              <a:gd name="connsiteY166" fmla="*/ 429284 h 464193"/>
              <a:gd name="connsiteX167" fmla="*/ 1458176 w 1715044"/>
              <a:gd name="connsiteY167" fmla="*/ 429284 h 464193"/>
              <a:gd name="connsiteX168" fmla="*/ 1458176 w 1715044"/>
              <a:gd name="connsiteY168" fmla="*/ 373888 h 464193"/>
              <a:gd name="connsiteX169" fmla="*/ 1433272 w 1715044"/>
              <a:gd name="connsiteY169" fmla="*/ 350331 h 464193"/>
              <a:gd name="connsiteX170" fmla="*/ 1410744 w 1715044"/>
              <a:gd name="connsiteY170" fmla="*/ 355245 h 464193"/>
              <a:gd name="connsiteX171" fmla="*/ 1413618 w 1715044"/>
              <a:gd name="connsiteY171" fmla="*/ 372025 h 464193"/>
              <a:gd name="connsiteX172" fmla="*/ 1413618 w 1715044"/>
              <a:gd name="connsiteY172" fmla="*/ 429302 h 464193"/>
              <a:gd name="connsiteX173" fmla="*/ 1401751 w 1715044"/>
              <a:gd name="connsiteY173" fmla="*/ 429302 h 464193"/>
              <a:gd name="connsiteX174" fmla="*/ 1401751 w 1715044"/>
              <a:gd name="connsiteY174" fmla="*/ 373550 h 464193"/>
              <a:gd name="connsiteX175" fmla="*/ 1376846 w 1715044"/>
              <a:gd name="connsiteY175" fmla="*/ 350331 h 464193"/>
              <a:gd name="connsiteX176" fmla="*/ 1356518 w 1715044"/>
              <a:gd name="connsiteY176" fmla="*/ 352708 h 464193"/>
              <a:gd name="connsiteX177" fmla="*/ 1356518 w 1715044"/>
              <a:gd name="connsiteY177" fmla="*/ 429284 h 464193"/>
              <a:gd name="connsiteX178" fmla="*/ 1344651 w 1715044"/>
              <a:gd name="connsiteY178" fmla="*/ 429284 h 464193"/>
              <a:gd name="connsiteX179" fmla="*/ 1344651 w 1715044"/>
              <a:gd name="connsiteY179" fmla="*/ 344566 h 464193"/>
              <a:gd name="connsiteX180" fmla="*/ 1378035 w 1715044"/>
              <a:gd name="connsiteY180" fmla="*/ 339830 h 464193"/>
              <a:gd name="connsiteX181" fmla="*/ 1404642 w 1715044"/>
              <a:gd name="connsiteY181" fmla="*/ 346943 h 464193"/>
              <a:gd name="connsiteX182" fmla="*/ 1434301 w 1715044"/>
              <a:gd name="connsiteY182" fmla="*/ 339830 h 464193"/>
              <a:gd name="connsiteX183" fmla="*/ 1470043 w 1715044"/>
              <a:gd name="connsiteY183" fmla="*/ 372007 h 464193"/>
              <a:gd name="connsiteX184" fmla="*/ 1561538 w 1715044"/>
              <a:gd name="connsiteY184" fmla="*/ 389639 h 464193"/>
              <a:gd name="connsiteX185" fmla="*/ 1498850 w 1715044"/>
              <a:gd name="connsiteY185" fmla="*/ 389639 h 464193"/>
              <a:gd name="connsiteX186" fmla="*/ 1530371 w 1715044"/>
              <a:gd name="connsiteY186" fmla="*/ 420823 h 464193"/>
              <a:gd name="connsiteX187" fmla="*/ 1558841 w 1715044"/>
              <a:gd name="connsiteY187" fmla="*/ 413533 h 464193"/>
              <a:gd name="connsiteX188" fmla="*/ 1556979 w 1715044"/>
              <a:gd name="connsiteY188" fmla="*/ 424885 h 464193"/>
              <a:gd name="connsiteX189" fmla="*/ 1530034 w 1715044"/>
              <a:gd name="connsiteY189" fmla="*/ 431324 h 464193"/>
              <a:gd name="connsiteX190" fmla="*/ 1486824 w 1715044"/>
              <a:gd name="connsiteY190" fmla="*/ 385063 h 464193"/>
              <a:gd name="connsiteX191" fmla="*/ 1525972 w 1715044"/>
              <a:gd name="connsiteY191" fmla="*/ 339830 h 464193"/>
              <a:gd name="connsiteX192" fmla="*/ 1562229 w 1715044"/>
              <a:gd name="connsiteY192" fmla="*/ 379138 h 464193"/>
              <a:gd name="connsiteX193" fmla="*/ 1561538 w 1715044"/>
              <a:gd name="connsiteY193" fmla="*/ 389639 h 464193"/>
              <a:gd name="connsiteX194" fmla="*/ 1498850 w 1715044"/>
              <a:gd name="connsiteY194" fmla="*/ 378961 h 464193"/>
              <a:gd name="connsiteX195" fmla="*/ 1550362 w 1715044"/>
              <a:gd name="connsiteY195" fmla="*/ 378961 h 464193"/>
              <a:gd name="connsiteX196" fmla="*/ 1550362 w 1715044"/>
              <a:gd name="connsiteY196" fmla="*/ 378287 h 464193"/>
              <a:gd name="connsiteX197" fmla="*/ 1525458 w 1715044"/>
              <a:gd name="connsiteY197" fmla="*/ 350154 h 464193"/>
              <a:gd name="connsiteX198" fmla="*/ 1498850 w 1715044"/>
              <a:gd name="connsiteY198" fmla="*/ 378961 h 464193"/>
              <a:gd name="connsiteX199" fmla="*/ 1650992 w 1715044"/>
              <a:gd name="connsiteY199" fmla="*/ 372007 h 464193"/>
              <a:gd name="connsiteX200" fmla="*/ 1650992 w 1715044"/>
              <a:gd name="connsiteY200" fmla="*/ 429284 h 464193"/>
              <a:gd name="connsiteX201" fmla="*/ 1639125 w 1715044"/>
              <a:gd name="connsiteY201" fmla="*/ 429284 h 464193"/>
              <a:gd name="connsiteX202" fmla="*/ 1639125 w 1715044"/>
              <a:gd name="connsiteY202" fmla="*/ 374225 h 464193"/>
              <a:gd name="connsiteX203" fmla="*/ 1612358 w 1715044"/>
              <a:gd name="connsiteY203" fmla="*/ 350331 h 464193"/>
              <a:gd name="connsiteX204" fmla="*/ 1592704 w 1715044"/>
              <a:gd name="connsiteY204" fmla="*/ 352708 h 464193"/>
              <a:gd name="connsiteX205" fmla="*/ 1592704 w 1715044"/>
              <a:gd name="connsiteY205" fmla="*/ 429284 h 464193"/>
              <a:gd name="connsiteX206" fmla="*/ 1580837 w 1715044"/>
              <a:gd name="connsiteY206" fmla="*/ 429284 h 464193"/>
              <a:gd name="connsiteX207" fmla="*/ 1580837 w 1715044"/>
              <a:gd name="connsiteY207" fmla="*/ 344566 h 464193"/>
              <a:gd name="connsiteX208" fmla="*/ 1612695 w 1715044"/>
              <a:gd name="connsiteY208" fmla="*/ 339830 h 464193"/>
              <a:gd name="connsiteX209" fmla="*/ 1650992 w 1715044"/>
              <a:gd name="connsiteY209" fmla="*/ 372007 h 464193"/>
              <a:gd name="connsiteX210" fmla="*/ 1715045 w 1715044"/>
              <a:gd name="connsiteY210" fmla="*/ 418446 h 464193"/>
              <a:gd name="connsiteX211" fmla="*/ 1713519 w 1715044"/>
              <a:gd name="connsiteY211" fmla="*/ 428610 h 464193"/>
              <a:gd name="connsiteX212" fmla="*/ 1698264 w 1715044"/>
              <a:gd name="connsiteY212" fmla="*/ 431324 h 464193"/>
              <a:gd name="connsiteX213" fmla="*/ 1671994 w 1715044"/>
              <a:gd name="connsiteY213" fmla="*/ 404220 h 464193"/>
              <a:gd name="connsiteX214" fmla="*/ 1671994 w 1715044"/>
              <a:gd name="connsiteY214" fmla="*/ 312903 h 464193"/>
              <a:gd name="connsiteX215" fmla="*/ 1683861 w 1715044"/>
              <a:gd name="connsiteY215" fmla="*/ 311041 h 464193"/>
              <a:gd name="connsiteX216" fmla="*/ 1683861 w 1715044"/>
              <a:gd name="connsiteY216" fmla="*/ 342384 h 464193"/>
              <a:gd name="connsiteX217" fmla="*/ 1714530 w 1715044"/>
              <a:gd name="connsiteY217" fmla="*/ 342384 h 464193"/>
              <a:gd name="connsiteX218" fmla="*/ 1713342 w 1715044"/>
              <a:gd name="connsiteY218" fmla="*/ 353063 h 464193"/>
              <a:gd name="connsiteX219" fmla="*/ 1683861 w 1715044"/>
              <a:gd name="connsiteY219" fmla="*/ 353063 h 464193"/>
              <a:gd name="connsiteX220" fmla="*/ 1683861 w 1715044"/>
              <a:gd name="connsiteY220" fmla="*/ 402872 h 464193"/>
              <a:gd name="connsiteX221" fmla="*/ 1700304 w 1715044"/>
              <a:gd name="connsiteY221" fmla="*/ 421178 h 464193"/>
              <a:gd name="connsiteX222" fmla="*/ 1715045 w 1715044"/>
              <a:gd name="connsiteY222" fmla="*/ 418446 h 464193"/>
              <a:gd name="connsiteX223" fmla="*/ 190935 w 1715044"/>
              <a:gd name="connsiteY223" fmla="*/ 116097 h 464193"/>
              <a:gd name="connsiteX224" fmla="*/ 183254 w 1715044"/>
              <a:gd name="connsiteY224" fmla="*/ 89720 h 464193"/>
              <a:gd name="connsiteX225" fmla="*/ 141534 w 1715044"/>
              <a:gd name="connsiteY225" fmla="*/ 17472 h 464193"/>
              <a:gd name="connsiteX226" fmla="*/ 134935 w 1715044"/>
              <a:gd name="connsiteY226" fmla="*/ 0 h 464193"/>
              <a:gd name="connsiteX227" fmla="*/ 133197 w 1715044"/>
              <a:gd name="connsiteY227" fmla="*/ 3016 h 464193"/>
              <a:gd name="connsiteX228" fmla="*/ 133197 w 1715044"/>
              <a:gd name="connsiteY228" fmla="*/ 60807 h 464193"/>
              <a:gd name="connsiteX229" fmla="*/ 166563 w 1715044"/>
              <a:gd name="connsiteY229" fmla="*/ 118598 h 464193"/>
              <a:gd name="connsiteX230" fmla="*/ 166563 w 1715044"/>
              <a:gd name="connsiteY230" fmla="*/ 176389 h 464193"/>
              <a:gd name="connsiteX231" fmla="*/ 164824 w 1715044"/>
              <a:gd name="connsiteY231" fmla="*/ 179405 h 464193"/>
              <a:gd name="connsiteX232" fmla="*/ 158226 w 1715044"/>
              <a:gd name="connsiteY232" fmla="*/ 161933 h 464193"/>
              <a:gd name="connsiteX233" fmla="*/ 127680 w 1715044"/>
              <a:gd name="connsiteY233" fmla="*/ 109037 h 464193"/>
              <a:gd name="connsiteX234" fmla="*/ 108168 w 1715044"/>
              <a:gd name="connsiteY234" fmla="*/ 75264 h 464193"/>
              <a:gd name="connsiteX235" fmla="*/ 101569 w 1715044"/>
              <a:gd name="connsiteY235" fmla="*/ 57791 h 464193"/>
              <a:gd name="connsiteX236" fmla="*/ 99831 w 1715044"/>
              <a:gd name="connsiteY236" fmla="*/ 60807 h 464193"/>
              <a:gd name="connsiteX237" fmla="*/ 99725 w 1715044"/>
              <a:gd name="connsiteY237" fmla="*/ 118421 h 464193"/>
              <a:gd name="connsiteX238" fmla="*/ 99725 w 1715044"/>
              <a:gd name="connsiteY238" fmla="*/ 118421 h 464193"/>
              <a:gd name="connsiteX239" fmla="*/ 133197 w 1715044"/>
              <a:gd name="connsiteY239" fmla="*/ 176389 h 464193"/>
              <a:gd name="connsiteX240" fmla="*/ 133197 w 1715044"/>
              <a:gd name="connsiteY240" fmla="*/ 234181 h 464193"/>
              <a:gd name="connsiteX241" fmla="*/ 131459 w 1715044"/>
              <a:gd name="connsiteY241" fmla="*/ 237196 h 464193"/>
              <a:gd name="connsiteX242" fmla="*/ 124860 w 1715044"/>
              <a:gd name="connsiteY242" fmla="*/ 219724 h 464193"/>
              <a:gd name="connsiteX243" fmla="*/ 83157 w 1715044"/>
              <a:gd name="connsiteY243" fmla="*/ 147494 h 464193"/>
              <a:gd name="connsiteX244" fmla="*/ 75476 w 1715044"/>
              <a:gd name="connsiteY244" fmla="*/ 116097 h 464193"/>
              <a:gd name="connsiteX245" fmla="*/ 0 w 1715044"/>
              <a:gd name="connsiteY245" fmla="*/ 181214 h 464193"/>
              <a:gd name="connsiteX246" fmla="*/ 133197 w 1715044"/>
              <a:gd name="connsiteY246" fmla="*/ 253462 h 464193"/>
              <a:gd name="connsiteX247" fmla="*/ 266394 w 1715044"/>
              <a:gd name="connsiteY247" fmla="*/ 181214 h 464193"/>
              <a:gd name="connsiteX248" fmla="*/ 190935 w 1715044"/>
              <a:gd name="connsiteY248" fmla="*/ 116097 h 464193"/>
              <a:gd name="connsiteX249" fmla="*/ 316682 w 1715044"/>
              <a:gd name="connsiteY249" fmla="*/ 239449 h 464193"/>
              <a:gd name="connsiteX250" fmla="*/ 321436 w 1715044"/>
              <a:gd name="connsiteY250" fmla="*/ 214172 h 464193"/>
              <a:gd name="connsiteX251" fmla="*/ 367218 w 1715044"/>
              <a:gd name="connsiteY251" fmla="*/ 223928 h 464193"/>
              <a:gd name="connsiteX252" fmla="*/ 403493 w 1715044"/>
              <a:gd name="connsiteY252" fmla="*/ 201667 h 464193"/>
              <a:gd name="connsiteX253" fmla="*/ 370464 w 1715044"/>
              <a:gd name="connsiteY253" fmla="*/ 170146 h 464193"/>
              <a:gd name="connsiteX254" fmla="*/ 357710 w 1715044"/>
              <a:gd name="connsiteY254" fmla="*/ 164647 h 464193"/>
              <a:gd name="connsiteX255" fmla="*/ 318172 w 1715044"/>
              <a:gd name="connsiteY255" fmla="*/ 114607 h 464193"/>
              <a:gd name="connsiteX256" fmla="*/ 378464 w 1715044"/>
              <a:gd name="connsiteY256" fmla="*/ 67813 h 464193"/>
              <a:gd name="connsiteX257" fmla="*/ 424247 w 1715044"/>
              <a:gd name="connsiteY257" fmla="*/ 75068 h 464193"/>
              <a:gd name="connsiteX258" fmla="*/ 419245 w 1715044"/>
              <a:gd name="connsiteY258" fmla="*/ 100097 h 464193"/>
              <a:gd name="connsiteX259" fmla="*/ 378216 w 1715044"/>
              <a:gd name="connsiteY259" fmla="*/ 92842 h 464193"/>
              <a:gd name="connsiteX260" fmla="*/ 346447 w 1715044"/>
              <a:gd name="connsiteY260" fmla="*/ 114607 h 464193"/>
              <a:gd name="connsiteX261" fmla="*/ 373710 w 1715044"/>
              <a:gd name="connsiteY261" fmla="*/ 142634 h 464193"/>
              <a:gd name="connsiteX262" fmla="*/ 387227 w 1715044"/>
              <a:gd name="connsiteY262" fmla="*/ 148381 h 464193"/>
              <a:gd name="connsiteX263" fmla="*/ 432264 w 1715044"/>
              <a:gd name="connsiteY263" fmla="*/ 200425 h 464193"/>
              <a:gd name="connsiteX264" fmla="*/ 367963 w 1715044"/>
              <a:gd name="connsiteY264" fmla="*/ 248957 h 464193"/>
              <a:gd name="connsiteX265" fmla="*/ 316682 w 1715044"/>
              <a:gd name="connsiteY265" fmla="*/ 239449 h 464193"/>
              <a:gd name="connsiteX266" fmla="*/ 566632 w 1715044"/>
              <a:gd name="connsiteY266" fmla="*/ 119840 h 464193"/>
              <a:gd name="connsiteX267" fmla="*/ 566632 w 1715044"/>
              <a:gd name="connsiteY267" fmla="*/ 244948 h 464193"/>
              <a:gd name="connsiteX268" fmla="*/ 541373 w 1715044"/>
              <a:gd name="connsiteY268" fmla="*/ 244948 h 464193"/>
              <a:gd name="connsiteX269" fmla="*/ 539865 w 1715044"/>
              <a:gd name="connsiteY269" fmla="*/ 229941 h 464193"/>
              <a:gd name="connsiteX270" fmla="*/ 504584 w 1715044"/>
              <a:gd name="connsiteY270" fmla="*/ 247946 h 464193"/>
              <a:gd name="connsiteX271" fmla="*/ 449542 w 1715044"/>
              <a:gd name="connsiteY271" fmla="*/ 181888 h 464193"/>
              <a:gd name="connsiteX272" fmla="*/ 519342 w 1715044"/>
              <a:gd name="connsiteY272" fmla="*/ 112833 h 464193"/>
              <a:gd name="connsiteX273" fmla="*/ 566632 w 1715044"/>
              <a:gd name="connsiteY273" fmla="*/ 119840 h 464193"/>
              <a:gd name="connsiteX274" fmla="*/ 539120 w 1715044"/>
              <a:gd name="connsiteY274" fmla="*/ 216425 h 464193"/>
              <a:gd name="connsiteX275" fmla="*/ 539120 w 1715044"/>
              <a:gd name="connsiteY275" fmla="*/ 137862 h 464193"/>
              <a:gd name="connsiteX276" fmla="*/ 519360 w 1715044"/>
              <a:gd name="connsiteY276" fmla="*/ 136354 h 464193"/>
              <a:gd name="connsiteX277" fmla="*/ 477568 w 1715044"/>
              <a:gd name="connsiteY277" fmla="*/ 181888 h 464193"/>
              <a:gd name="connsiteX278" fmla="*/ 512353 w 1715044"/>
              <a:gd name="connsiteY278" fmla="*/ 225418 h 464193"/>
              <a:gd name="connsiteX279" fmla="*/ 539120 w 1715044"/>
              <a:gd name="connsiteY279" fmla="*/ 216425 h 464193"/>
              <a:gd name="connsiteX280" fmla="*/ 707510 w 1715044"/>
              <a:gd name="connsiteY280" fmla="*/ 160886 h 464193"/>
              <a:gd name="connsiteX281" fmla="*/ 707510 w 1715044"/>
              <a:gd name="connsiteY281" fmla="*/ 244948 h 464193"/>
              <a:gd name="connsiteX282" fmla="*/ 679980 w 1715044"/>
              <a:gd name="connsiteY282" fmla="*/ 244948 h 464193"/>
              <a:gd name="connsiteX283" fmla="*/ 679980 w 1715044"/>
              <a:gd name="connsiteY283" fmla="*/ 165640 h 464193"/>
              <a:gd name="connsiteX284" fmla="*/ 645958 w 1715044"/>
              <a:gd name="connsiteY284" fmla="*/ 136372 h 464193"/>
              <a:gd name="connsiteX285" fmla="*/ 624193 w 1715044"/>
              <a:gd name="connsiteY285" fmla="*/ 138376 h 464193"/>
              <a:gd name="connsiteX286" fmla="*/ 624193 w 1715044"/>
              <a:gd name="connsiteY286" fmla="*/ 244966 h 464193"/>
              <a:gd name="connsiteX287" fmla="*/ 596663 w 1715044"/>
              <a:gd name="connsiteY287" fmla="*/ 244966 h 464193"/>
              <a:gd name="connsiteX288" fmla="*/ 596663 w 1715044"/>
              <a:gd name="connsiteY288" fmla="*/ 119840 h 464193"/>
              <a:gd name="connsiteX289" fmla="*/ 646703 w 1715044"/>
              <a:gd name="connsiteY289" fmla="*/ 112833 h 464193"/>
              <a:gd name="connsiteX290" fmla="*/ 707510 w 1715044"/>
              <a:gd name="connsiteY290" fmla="*/ 160886 h 464193"/>
              <a:gd name="connsiteX291" fmla="*/ 783820 w 1715044"/>
              <a:gd name="connsiteY291" fmla="*/ 224425 h 464193"/>
              <a:gd name="connsiteX292" fmla="*/ 805336 w 1715044"/>
              <a:gd name="connsiteY292" fmla="*/ 220664 h 464193"/>
              <a:gd name="connsiteX293" fmla="*/ 802090 w 1715044"/>
              <a:gd name="connsiteY293" fmla="*/ 243937 h 464193"/>
              <a:gd name="connsiteX294" fmla="*/ 778818 w 1715044"/>
              <a:gd name="connsiteY294" fmla="*/ 247946 h 464193"/>
              <a:gd name="connsiteX295" fmla="*/ 735039 w 1715044"/>
              <a:gd name="connsiteY295" fmla="*/ 205161 h 464193"/>
              <a:gd name="connsiteX296" fmla="*/ 735039 w 1715044"/>
              <a:gd name="connsiteY296" fmla="*/ 73809 h 464193"/>
              <a:gd name="connsiteX297" fmla="*/ 762569 w 1715044"/>
              <a:gd name="connsiteY297" fmla="*/ 69800 h 464193"/>
              <a:gd name="connsiteX298" fmla="*/ 762569 w 1715044"/>
              <a:gd name="connsiteY298" fmla="*/ 117090 h 464193"/>
              <a:gd name="connsiteX299" fmla="*/ 806099 w 1715044"/>
              <a:gd name="connsiteY299" fmla="*/ 117090 h 464193"/>
              <a:gd name="connsiteX300" fmla="*/ 803598 w 1715044"/>
              <a:gd name="connsiteY300" fmla="*/ 140611 h 464193"/>
              <a:gd name="connsiteX301" fmla="*/ 762569 w 1715044"/>
              <a:gd name="connsiteY301" fmla="*/ 140611 h 464193"/>
              <a:gd name="connsiteX302" fmla="*/ 762569 w 1715044"/>
              <a:gd name="connsiteY302" fmla="*/ 201915 h 464193"/>
              <a:gd name="connsiteX303" fmla="*/ 783820 w 1715044"/>
              <a:gd name="connsiteY303" fmla="*/ 224425 h 464193"/>
              <a:gd name="connsiteX304" fmla="*/ 931456 w 1715044"/>
              <a:gd name="connsiteY304" fmla="*/ 119840 h 464193"/>
              <a:gd name="connsiteX305" fmla="*/ 931456 w 1715044"/>
              <a:gd name="connsiteY305" fmla="*/ 244948 h 464193"/>
              <a:gd name="connsiteX306" fmla="*/ 906178 w 1715044"/>
              <a:gd name="connsiteY306" fmla="*/ 244948 h 464193"/>
              <a:gd name="connsiteX307" fmla="*/ 904671 w 1715044"/>
              <a:gd name="connsiteY307" fmla="*/ 229941 h 464193"/>
              <a:gd name="connsiteX308" fmla="*/ 869389 w 1715044"/>
              <a:gd name="connsiteY308" fmla="*/ 247946 h 464193"/>
              <a:gd name="connsiteX309" fmla="*/ 814347 w 1715044"/>
              <a:gd name="connsiteY309" fmla="*/ 181888 h 464193"/>
              <a:gd name="connsiteX310" fmla="*/ 884148 w 1715044"/>
              <a:gd name="connsiteY310" fmla="*/ 112833 h 464193"/>
              <a:gd name="connsiteX311" fmla="*/ 931456 w 1715044"/>
              <a:gd name="connsiteY311" fmla="*/ 119840 h 464193"/>
              <a:gd name="connsiteX312" fmla="*/ 903926 w 1715044"/>
              <a:gd name="connsiteY312" fmla="*/ 216425 h 464193"/>
              <a:gd name="connsiteX313" fmla="*/ 903926 w 1715044"/>
              <a:gd name="connsiteY313" fmla="*/ 137862 h 464193"/>
              <a:gd name="connsiteX314" fmla="*/ 884165 w 1715044"/>
              <a:gd name="connsiteY314" fmla="*/ 136354 h 464193"/>
              <a:gd name="connsiteX315" fmla="*/ 842374 w 1715044"/>
              <a:gd name="connsiteY315" fmla="*/ 181888 h 464193"/>
              <a:gd name="connsiteX316" fmla="*/ 877159 w 1715044"/>
              <a:gd name="connsiteY316" fmla="*/ 225418 h 464193"/>
              <a:gd name="connsiteX317" fmla="*/ 903926 w 1715044"/>
              <a:gd name="connsiteY317" fmla="*/ 216425 h 464193"/>
              <a:gd name="connsiteX318" fmla="*/ 1072315 w 1715044"/>
              <a:gd name="connsiteY318" fmla="*/ 160886 h 464193"/>
              <a:gd name="connsiteX319" fmla="*/ 1072315 w 1715044"/>
              <a:gd name="connsiteY319" fmla="*/ 244948 h 464193"/>
              <a:gd name="connsiteX320" fmla="*/ 1044786 w 1715044"/>
              <a:gd name="connsiteY320" fmla="*/ 244948 h 464193"/>
              <a:gd name="connsiteX321" fmla="*/ 1044786 w 1715044"/>
              <a:gd name="connsiteY321" fmla="*/ 165640 h 464193"/>
              <a:gd name="connsiteX322" fmla="*/ 1010763 w 1715044"/>
              <a:gd name="connsiteY322" fmla="*/ 136372 h 464193"/>
              <a:gd name="connsiteX323" fmla="*/ 988999 w 1715044"/>
              <a:gd name="connsiteY323" fmla="*/ 138376 h 464193"/>
              <a:gd name="connsiteX324" fmla="*/ 988999 w 1715044"/>
              <a:gd name="connsiteY324" fmla="*/ 244966 h 464193"/>
              <a:gd name="connsiteX325" fmla="*/ 961469 w 1715044"/>
              <a:gd name="connsiteY325" fmla="*/ 244966 h 464193"/>
              <a:gd name="connsiteX326" fmla="*/ 961469 w 1715044"/>
              <a:gd name="connsiteY326" fmla="*/ 119840 h 464193"/>
              <a:gd name="connsiteX327" fmla="*/ 1011508 w 1715044"/>
              <a:gd name="connsiteY327" fmla="*/ 112833 h 464193"/>
              <a:gd name="connsiteX328" fmla="*/ 1072315 w 1715044"/>
              <a:gd name="connsiteY328" fmla="*/ 160886 h 464193"/>
              <a:gd name="connsiteX329" fmla="*/ 1211933 w 1715044"/>
              <a:gd name="connsiteY329" fmla="*/ 69800 h 464193"/>
              <a:gd name="connsiteX330" fmla="*/ 1211933 w 1715044"/>
              <a:gd name="connsiteY330" fmla="*/ 244930 h 464193"/>
              <a:gd name="connsiteX331" fmla="*/ 1186656 w 1715044"/>
              <a:gd name="connsiteY331" fmla="*/ 244930 h 464193"/>
              <a:gd name="connsiteX332" fmla="*/ 1185149 w 1715044"/>
              <a:gd name="connsiteY332" fmla="*/ 228913 h 464193"/>
              <a:gd name="connsiteX333" fmla="*/ 1149371 w 1715044"/>
              <a:gd name="connsiteY333" fmla="*/ 247928 h 464193"/>
              <a:gd name="connsiteX334" fmla="*/ 1094329 w 1715044"/>
              <a:gd name="connsiteY334" fmla="*/ 181871 h 464193"/>
              <a:gd name="connsiteX335" fmla="*/ 1164129 w 1715044"/>
              <a:gd name="connsiteY335" fmla="*/ 112815 h 464193"/>
              <a:gd name="connsiteX336" fmla="*/ 1184652 w 1715044"/>
              <a:gd name="connsiteY336" fmla="*/ 114820 h 464193"/>
              <a:gd name="connsiteX337" fmla="*/ 1184652 w 1715044"/>
              <a:gd name="connsiteY337" fmla="*/ 73561 h 464193"/>
              <a:gd name="connsiteX338" fmla="*/ 1211933 w 1715044"/>
              <a:gd name="connsiteY338" fmla="*/ 69800 h 464193"/>
              <a:gd name="connsiteX339" fmla="*/ 1184652 w 1715044"/>
              <a:gd name="connsiteY339" fmla="*/ 215928 h 464193"/>
              <a:gd name="connsiteX340" fmla="*/ 1184652 w 1715044"/>
              <a:gd name="connsiteY340" fmla="*/ 138855 h 464193"/>
              <a:gd name="connsiteX341" fmla="*/ 1162639 w 1715044"/>
              <a:gd name="connsiteY341" fmla="*/ 136354 h 464193"/>
              <a:gd name="connsiteX342" fmla="*/ 1122355 w 1715044"/>
              <a:gd name="connsiteY342" fmla="*/ 181888 h 464193"/>
              <a:gd name="connsiteX343" fmla="*/ 1157140 w 1715044"/>
              <a:gd name="connsiteY343" fmla="*/ 225418 h 464193"/>
              <a:gd name="connsiteX344" fmla="*/ 1184652 w 1715044"/>
              <a:gd name="connsiteY344" fmla="*/ 215928 h 464193"/>
              <a:gd name="connsiteX345" fmla="*/ 1350292 w 1715044"/>
              <a:gd name="connsiteY345" fmla="*/ 191396 h 464193"/>
              <a:gd name="connsiteX346" fmla="*/ 1262470 w 1715044"/>
              <a:gd name="connsiteY346" fmla="*/ 191396 h 464193"/>
              <a:gd name="connsiteX347" fmla="*/ 1303499 w 1715044"/>
              <a:gd name="connsiteY347" fmla="*/ 224425 h 464193"/>
              <a:gd name="connsiteX348" fmla="*/ 1347525 w 1715044"/>
              <a:gd name="connsiteY348" fmla="*/ 214917 h 464193"/>
              <a:gd name="connsiteX349" fmla="*/ 1343268 w 1715044"/>
              <a:gd name="connsiteY349" fmla="*/ 239928 h 464193"/>
              <a:gd name="connsiteX350" fmla="*/ 1302736 w 1715044"/>
              <a:gd name="connsiteY350" fmla="*/ 247928 h 464193"/>
              <a:gd name="connsiteX351" fmla="*/ 1234426 w 1715044"/>
              <a:gd name="connsiteY351" fmla="*/ 179618 h 464193"/>
              <a:gd name="connsiteX352" fmla="*/ 1295481 w 1715044"/>
              <a:gd name="connsiteY352" fmla="*/ 112815 h 464193"/>
              <a:gd name="connsiteX353" fmla="*/ 1351782 w 1715044"/>
              <a:gd name="connsiteY353" fmla="*/ 170110 h 464193"/>
              <a:gd name="connsiteX354" fmla="*/ 1350292 w 1715044"/>
              <a:gd name="connsiteY354" fmla="*/ 191396 h 464193"/>
              <a:gd name="connsiteX355" fmla="*/ 1261973 w 1715044"/>
              <a:gd name="connsiteY355" fmla="*/ 168390 h 464193"/>
              <a:gd name="connsiteX356" fmla="*/ 1324022 w 1715044"/>
              <a:gd name="connsiteY356" fmla="*/ 168390 h 464193"/>
              <a:gd name="connsiteX357" fmla="*/ 1293991 w 1715044"/>
              <a:gd name="connsiteY357" fmla="*/ 135858 h 464193"/>
              <a:gd name="connsiteX358" fmla="*/ 1261973 w 1715044"/>
              <a:gd name="connsiteY358" fmla="*/ 168390 h 464193"/>
              <a:gd name="connsiteX359" fmla="*/ 1446629 w 1715044"/>
              <a:gd name="connsiteY359" fmla="*/ 113844 h 464193"/>
              <a:gd name="connsiteX360" fmla="*/ 1444128 w 1715044"/>
              <a:gd name="connsiteY360" fmla="*/ 137365 h 464193"/>
              <a:gd name="connsiteX361" fmla="*/ 1423356 w 1715044"/>
              <a:gd name="connsiteY361" fmla="*/ 136372 h 464193"/>
              <a:gd name="connsiteX362" fmla="*/ 1403099 w 1715044"/>
              <a:gd name="connsiteY362" fmla="*/ 137880 h 464193"/>
              <a:gd name="connsiteX363" fmla="*/ 1403099 w 1715044"/>
              <a:gd name="connsiteY363" fmla="*/ 244966 h 464193"/>
              <a:gd name="connsiteX364" fmla="*/ 1375569 w 1715044"/>
              <a:gd name="connsiteY364" fmla="*/ 244966 h 464193"/>
              <a:gd name="connsiteX365" fmla="*/ 1375569 w 1715044"/>
              <a:gd name="connsiteY365" fmla="*/ 119840 h 464193"/>
              <a:gd name="connsiteX366" fmla="*/ 1422611 w 1715044"/>
              <a:gd name="connsiteY366" fmla="*/ 112833 h 464193"/>
              <a:gd name="connsiteX367" fmla="*/ 1446629 w 1715044"/>
              <a:gd name="connsiteY367" fmla="*/ 113844 h 46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1715044" h="464193">
                <a:moveTo>
                  <a:pt x="391413" y="400655"/>
                </a:moveTo>
                <a:lnTo>
                  <a:pt x="339050" y="400655"/>
                </a:lnTo>
                <a:lnTo>
                  <a:pt x="329223" y="429284"/>
                </a:lnTo>
                <a:lnTo>
                  <a:pt x="316682" y="429284"/>
                </a:lnTo>
                <a:lnTo>
                  <a:pt x="357515" y="312708"/>
                </a:lnTo>
                <a:cubicBezTo>
                  <a:pt x="361755" y="311697"/>
                  <a:pt x="367342" y="311183"/>
                  <a:pt x="372433" y="311183"/>
                </a:cubicBezTo>
                <a:lnTo>
                  <a:pt x="413781" y="429284"/>
                </a:lnTo>
                <a:lnTo>
                  <a:pt x="401240" y="429284"/>
                </a:lnTo>
                <a:lnTo>
                  <a:pt x="391413" y="400655"/>
                </a:lnTo>
                <a:close/>
                <a:moveTo>
                  <a:pt x="387688" y="389462"/>
                </a:moveTo>
                <a:lnTo>
                  <a:pt x="365320" y="323546"/>
                </a:lnTo>
                <a:lnTo>
                  <a:pt x="342793" y="389462"/>
                </a:lnTo>
                <a:lnTo>
                  <a:pt x="387688" y="389462"/>
                </a:lnTo>
                <a:close/>
                <a:moveTo>
                  <a:pt x="421231" y="424708"/>
                </a:moveTo>
                <a:cubicBezTo>
                  <a:pt x="421409" y="419972"/>
                  <a:pt x="422083" y="416743"/>
                  <a:pt x="422934" y="414366"/>
                </a:cubicBezTo>
                <a:cubicBezTo>
                  <a:pt x="430899" y="418943"/>
                  <a:pt x="441914" y="420983"/>
                  <a:pt x="450553" y="420983"/>
                </a:cubicBezTo>
                <a:cubicBezTo>
                  <a:pt x="463590" y="420983"/>
                  <a:pt x="471555" y="416921"/>
                  <a:pt x="471555" y="407253"/>
                </a:cubicBezTo>
                <a:cubicBezTo>
                  <a:pt x="471555" y="397089"/>
                  <a:pt x="462242" y="393524"/>
                  <a:pt x="454100" y="390987"/>
                </a:cubicBezTo>
                <a:lnTo>
                  <a:pt x="446313" y="388610"/>
                </a:lnTo>
                <a:cubicBezTo>
                  <a:pt x="431236" y="384034"/>
                  <a:pt x="422934" y="376406"/>
                  <a:pt x="422934" y="362854"/>
                </a:cubicBezTo>
                <a:cubicBezTo>
                  <a:pt x="422934" y="347777"/>
                  <a:pt x="434464" y="339812"/>
                  <a:pt x="453604" y="339812"/>
                </a:cubicBezTo>
                <a:cubicBezTo>
                  <a:pt x="463431" y="339812"/>
                  <a:pt x="472584" y="341160"/>
                  <a:pt x="480371" y="344211"/>
                </a:cubicBezTo>
                <a:cubicBezTo>
                  <a:pt x="480193" y="347103"/>
                  <a:pt x="479697" y="350828"/>
                  <a:pt x="478668" y="354216"/>
                </a:cubicBezTo>
                <a:cubicBezTo>
                  <a:pt x="470881" y="351324"/>
                  <a:pt x="462224" y="349976"/>
                  <a:pt x="453923" y="349976"/>
                </a:cubicBezTo>
                <a:cubicBezTo>
                  <a:pt x="440868" y="349976"/>
                  <a:pt x="434269" y="354216"/>
                  <a:pt x="434269" y="362517"/>
                </a:cubicBezTo>
                <a:cubicBezTo>
                  <a:pt x="434269" y="372007"/>
                  <a:pt x="440885" y="374881"/>
                  <a:pt x="451386" y="378446"/>
                </a:cubicBezTo>
                <a:lnTo>
                  <a:pt x="459351" y="381160"/>
                </a:lnTo>
                <a:cubicBezTo>
                  <a:pt x="472743" y="385737"/>
                  <a:pt x="483067" y="392176"/>
                  <a:pt x="483067" y="406916"/>
                </a:cubicBezTo>
                <a:cubicBezTo>
                  <a:pt x="483067" y="422331"/>
                  <a:pt x="471200" y="431306"/>
                  <a:pt x="450872" y="431306"/>
                </a:cubicBezTo>
                <a:cubicBezTo>
                  <a:pt x="439023" y="431324"/>
                  <a:pt x="429196" y="429284"/>
                  <a:pt x="421231" y="424708"/>
                </a:cubicBezTo>
                <a:close/>
                <a:moveTo>
                  <a:pt x="495271" y="424708"/>
                </a:moveTo>
                <a:cubicBezTo>
                  <a:pt x="495431" y="419972"/>
                  <a:pt x="496122" y="416743"/>
                  <a:pt x="496974" y="414366"/>
                </a:cubicBezTo>
                <a:cubicBezTo>
                  <a:pt x="504938" y="418943"/>
                  <a:pt x="515954" y="420983"/>
                  <a:pt x="524592" y="420983"/>
                </a:cubicBezTo>
                <a:cubicBezTo>
                  <a:pt x="537648" y="420983"/>
                  <a:pt x="545594" y="416921"/>
                  <a:pt x="545594" y="407253"/>
                </a:cubicBezTo>
                <a:cubicBezTo>
                  <a:pt x="545594" y="397089"/>
                  <a:pt x="536282" y="393524"/>
                  <a:pt x="528140" y="390987"/>
                </a:cubicBezTo>
                <a:lnTo>
                  <a:pt x="520353" y="388610"/>
                </a:lnTo>
                <a:cubicBezTo>
                  <a:pt x="505275" y="384034"/>
                  <a:pt x="496974" y="376406"/>
                  <a:pt x="496974" y="362854"/>
                </a:cubicBezTo>
                <a:cubicBezTo>
                  <a:pt x="496974" y="347777"/>
                  <a:pt x="508504" y="339812"/>
                  <a:pt x="527643" y="339812"/>
                </a:cubicBezTo>
                <a:cubicBezTo>
                  <a:pt x="537470" y="339812"/>
                  <a:pt x="546623" y="341160"/>
                  <a:pt x="554410" y="344211"/>
                </a:cubicBezTo>
                <a:cubicBezTo>
                  <a:pt x="554233" y="347103"/>
                  <a:pt x="553736" y="350828"/>
                  <a:pt x="552708" y="354216"/>
                </a:cubicBezTo>
                <a:cubicBezTo>
                  <a:pt x="544920" y="351324"/>
                  <a:pt x="536264" y="349976"/>
                  <a:pt x="527963" y="349976"/>
                </a:cubicBezTo>
                <a:cubicBezTo>
                  <a:pt x="514925" y="349976"/>
                  <a:pt x="508309" y="354216"/>
                  <a:pt x="508309" y="362517"/>
                </a:cubicBezTo>
                <a:cubicBezTo>
                  <a:pt x="508309" y="372007"/>
                  <a:pt x="514925" y="374881"/>
                  <a:pt x="525426" y="378446"/>
                </a:cubicBezTo>
                <a:lnTo>
                  <a:pt x="533391" y="381160"/>
                </a:lnTo>
                <a:cubicBezTo>
                  <a:pt x="546783" y="385737"/>
                  <a:pt x="557107" y="392176"/>
                  <a:pt x="557107" y="406916"/>
                </a:cubicBezTo>
                <a:cubicBezTo>
                  <a:pt x="557107" y="422331"/>
                  <a:pt x="545240" y="431306"/>
                  <a:pt x="524912" y="431306"/>
                </a:cubicBezTo>
                <a:cubicBezTo>
                  <a:pt x="513062" y="431324"/>
                  <a:pt x="503235" y="429284"/>
                  <a:pt x="495271" y="424708"/>
                </a:cubicBezTo>
                <a:close/>
                <a:moveTo>
                  <a:pt x="642854" y="389639"/>
                </a:moveTo>
                <a:lnTo>
                  <a:pt x="580166" y="389639"/>
                </a:lnTo>
                <a:cubicBezTo>
                  <a:pt x="581692" y="409967"/>
                  <a:pt x="592370" y="420823"/>
                  <a:pt x="611687" y="420823"/>
                </a:cubicBezTo>
                <a:cubicBezTo>
                  <a:pt x="620840" y="420823"/>
                  <a:pt x="631004" y="418783"/>
                  <a:pt x="640157" y="413533"/>
                </a:cubicBezTo>
                <a:cubicBezTo>
                  <a:pt x="639820" y="416584"/>
                  <a:pt x="639146" y="421160"/>
                  <a:pt x="638295" y="424885"/>
                </a:cubicBezTo>
                <a:cubicBezTo>
                  <a:pt x="629816" y="429799"/>
                  <a:pt x="621018" y="431324"/>
                  <a:pt x="611350" y="431324"/>
                </a:cubicBezTo>
                <a:cubicBezTo>
                  <a:pt x="583058" y="431324"/>
                  <a:pt x="568140" y="414207"/>
                  <a:pt x="568140" y="385063"/>
                </a:cubicBezTo>
                <a:cubicBezTo>
                  <a:pt x="568140" y="359821"/>
                  <a:pt x="579492" y="339830"/>
                  <a:pt x="607288" y="339830"/>
                </a:cubicBezTo>
                <a:cubicBezTo>
                  <a:pt x="632707" y="339830"/>
                  <a:pt x="643545" y="357284"/>
                  <a:pt x="643545" y="379138"/>
                </a:cubicBezTo>
                <a:cubicBezTo>
                  <a:pt x="643528" y="382686"/>
                  <a:pt x="643368" y="386251"/>
                  <a:pt x="642854" y="389639"/>
                </a:cubicBezTo>
                <a:close/>
                <a:moveTo>
                  <a:pt x="580166" y="378961"/>
                </a:moveTo>
                <a:lnTo>
                  <a:pt x="631678" y="378961"/>
                </a:lnTo>
                <a:lnTo>
                  <a:pt x="631678" y="378287"/>
                </a:lnTo>
                <a:cubicBezTo>
                  <a:pt x="631678" y="361506"/>
                  <a:pt x="623554" y="350154"/>
                  <a:pt x="606774" y="350154"/>
                </a:cubicBezTo>
                <a:cubicBezTo>
                  <a:pt x="589816" y="350154"/>
                  <a:pt x="581514" y="361347"/>
                  <a:pt x="580166" y="378961"/>
                </a:cubicBezTo>
                <a:close/>
                <a:moveTo>
                  <a:pt x="704193" y="418446"/>
                </a:moveTo>
                <a:cubicBezTo>
                  <a:pt x="703856" y="421674"/>
                  <a:pt x="703341" y="425400"/>
                  <a:pt x="702667" y="428610"/>
                </a:cubicBezTo>
                <a:cubicBezTo>
                  <a:pt x="697576" y="430473"/>
                  <a:pt x="692663" y="431324"/>
                  <a:pt x="687412" y="431324"/>
                </a:cubicBezTo>
                <a:cubicBezTo>
                  <a:pt x="671146" y="431324"/>
                  <a:pt x="661142" y="423200"/>
                  <a:pt x="661142" y="404220"/>
                </a:cubicBezTo>
                <a:lnTo>
                  <a:pt x="661142" y="312903"/>
                </a:lnTo>
                <a:cubicBezTo>
                  <a:pt x="664707" y="311715"/>
                  <a:pt x="669443" y="311041"/>
                  <a:pt x="673009" y="311041"/>
                </a:cubicBezTo>
                <a:lnTo>
                  <a:pt x="673009" y="342384"/>
                </a:lnTo>
                <a:lnTo>
                  <a:pt x="703678" y="342384"/>
                </a:lnTo>
                <a:cubicBezTo>
                  <a:pt x="703501" y="346446"/>
                  <a:pt x="703164" y="349834"/>
                  <a:pt x="702490" y="353063"/>
                </a:cubicBezTo>
                <a:lnTo>
                  <a:pt x="673009" y="353063"/>
                </a:lnTo>
                <a:lnTo>
                  <a:pt x="673009" y="402872"/>
                </a:lnTo>
                <a:cubicBezTo>
                  <a:pt x="673009" y="415750"/>
                  <a:pt x="678933" y="421178"/>
                  <a:pt x="689452" y="421178"/>
                </a:cubicBezTo>
                <a:cubicBezTo>
                  <a:pt x="694188" y="421160"/>
                  <a:pt x="699616" y="420131"/>
                  <a:pt x="704193" y="418446"/>
                </a:cubicBezTo>
                <a:close/>
                <a:moveTo>
                  <a:pt x="870241" y="429284"/>
                </a:moveTo>
                <a:lnTo>
                  <a:pt x="857877" y="429284"/>
                </a:lnTo>
                <a:lnTo>
                  <a:pt x="854312" y="376247"/>
                </a:lnTo>
                <a:cubicBezTo>
                  <a:pt x="853301" y="359981"/>
                  <a:pt x="852449" y="344229"/>
                  <a:pt x="851935" y="328797"/>
                </a:cubicBezTo>
                <a:cubicBezTo>
                  <a:pt x="845673" y="346074"/>
                  <a:pt x="838720" y="364202"/>
                  <a:pt x="832103" y="380468"/>
                </a:cubicBezTo>
                <a:lnTo>
                  <a:pt x="812449" y="429266"/>
                </a:lnTo>
                <a:lnTo>
                  <a:pt x="803474" y="429266"/>
                </a:lnTo>
                <a:lnTo>
                  <a:pt x="782472" y="375892"/>
                </a:lnTo>
                <a:cubicBezTo>
                  <a:pt x="775855" y="359626"/>
                  <a:pt x="769771" y="343697"/>
                  <a:pt x="764858" y="328956"/>
                </a:cubicBezTo>
                <a:cubicBezTo>
                  <a:pt x="764183" y="343697"/>
                  <a:pt x="762995" y="361666"/>
                  <a:pt x="761984" y="377240"/>
                </a:cubicBezTo>
                <a:lnTo>
                  <a:pt x="757922" y="429249"/>
                </a:lnTo>
                <a:lnTo>
                  <a:pt x="745718" y="429249"/>
                </a:lnTo>
                <a:lnTo>
                  <a:pt x="754871" y="312673"/>
                </a:lnTo>
                <a:cubicBezTo>
                  <a:pt x="758773" y="311484"/>
                  <a:pt x="765709" y="310810"/>
                  <a:pt x="769434" y="310810"/>
                </a:cubicBezTo>
                <a:lnTo>
                  <a:pt x="808228" y="410606"/>
                </a:lnTo>
                <a:lnTo>
                  <a:pt x="846525" y="312673"/>
                </a:lnTo>
                <a:cubicBezTo>
                  <a:pt x="850924" y="311147"/>
                  <a:pt x="857363" y="310810"/>
                  <a:pt x="861443" y="310810"/>
                </a:cubicBezTo>
                <a:lnTo>
                  <a:pt x="870241" y="429284"/>
                </a:lnTo>
                <a:close/>
                <a:moveTo>
                  <a:pt x="960369" y="344566"/>
                </a:moveTo>
                <a:lnTo>
                  <a:pt x="960369" y="429284"/>
                </a:lnTo>
                <a:lnTo>
                  <a:pt x="949354" y="429284"/>
                </a:lnTo>
                <a:lnTo>
                  <a:pt x="949016" y="422686"/>
                </a:lnTo>
                <a:cubicBezTo>
                  <a:pt x="943252" y="427776"/>
                  <a:pt x="935464" y="431324"/>
                  <a:pt x="925974" y="431324"/>
                </a:cubicBezTo>
                <a:cubicBezTo>
                  <a:pt x="901921" y="431324"/>
                  <a:pt x="887003" y="415235"/>
                  <a:pt x="887003" y="386251"/>
                </a:cubicBezTo>
                <a:cubicBezTo>
                  <a:pt x="887003" y="356433"/>
                  <a:pt x="901744" y="339830"/>
                  <a:pt x="932076" y="339830"/>
                </a:cubicBezTo>
                <a:cubicBezTo>
                  <a:pt x="942577" y="339830"/>
                  <a:pt x="951393" y="341178"/>
                  <a:pt x="960369" y="344566"/>
                </a:cubicBezTo>
                <a:close/>
                <a:moveTo>
                  <a:pt x="927003" y="421497"/>
                </a:moveTo>
                <a:cubicBezTo>
                  <a:pt x="935819" y="421497"/>
                  <a:pt x="942932" y="418269"/>
                  <a:pt x="948520" y="412859"/>
                </a:cubicBezTo>
                <a:lnTo>
                  <a:pt x="948520" y="352371"/>
                </a:lnTo>
                <a:cubicBezTo>
                  <a:pt x="943429" y="351023"/>
                  <a:pt x="938178" y="350331"/>
                  <a:pt x="932076" y="350331"/>
                </a:cubicBezTo>
                <a:cubicBezTo>
                  <a:pt x="909371" y="350331"/>
                  <a:pt x="899030" y="363546"/>
                  <a:pt x="899030" y="386251"/>
                </a:cubicBezTo>
                <a:cubicBezTo>
                  <a:pt x="899048" y="408105"/>
                  <a:pt x="908520" y="421497"/>
                  <a:pt x="927003" y="421497"/>
                </a:cubicBezTo>
                <a:close/>
                <a:moveTo>
                  <a:pt x="1053566" y="372007"/>
                </a:moveTo>
                <a:lnTo>
                  <a:pt x="1053566" y="429284"/>
                </a:lnTo>
                <a:lnTo>
                  <a:pt x="1041699" y="429284"/>
                </a:lnTo>
                <a:lnTo>
                  <a:pt x="1041699" y="374225"/>
                </a:lnTo>
                <a:cubicBezTo>
                  <a:pt x="1041699" y="358473"/>
                  <a:pt x="1035774" y="350331"/>
                  <a:pt x="1014932" y="350331"/>
                </a:cubicBezTo>
                <a:cubicBezTo>
                  <a:pt x="1008830" y="350331"/>
                  <a:pt x="1001717" y="351183"/>
                  <a:pt x="995278" y="352708"/>
                </a:cubicBezTo>
                <a:lnTo>
                  <a:pt x="995278" y="429284"/>
                </a:lnTo>
                <a:lnTo>
                  <a:pt x="983411" y="429284"/>
                </a:lnTo>
                <a:lnTo>
                  <a:pt x="983411" y="344566"/>
                </a:lnTo>
                <a:cubicBezTo>
                  <a:pt x="994764" y="341515"/>
                  <a:pt x="1005779" y="339830"/>
                  <a:pt x="1015269" y="339830"/>
                </a:cubicBezTo>
                <a:cubicBezTo>
                  <a:pt x="1043916" y="339830"/>
                  <a:pt x="1053566" y="351520"/>
                  <a:pt x="1053566" y="372007"/>
                </a:cubicBezTo>
                <a:close/>
                <a:moveTo>
                  <a:pt x="1144386" y="344566"/>
                </a:moveTo>
                <a:lnTo>
                  <a:pt x="1144386" y="429284"/>
                </a:lnTo>
                <a:lnTo>
                  <a:pt x="1133371" y="429284"/>
                </a:lnTo>
                <a:lnTo>
                  <a:pt x="1133034" y="422686"/>
                </a:lnTo>
                <a:cubicBezTo>
                  <a:pt x="1127269" y="427776"/>
                  <a:pt x="1119481" y="431324"/>
                  <a:pt x="1109992" y="431324"/>
                </a:cubicBezTo>
                <a:cubicBezTo>
                  <a:pt x="1085938" y="431324"/>
                  <a:pt x="1071020" y="415235"/>
                  <a:pt x="1071020" y="386251"/>
                </a:cubicBezTo>
                <a:cubicBezTo>
                  <a:pt x="1071020" y="356433"/>
                  <a:pt x="1085761" y="339830"/>
                  <a:pt x="1116094" y="339830"/>
                </a:cubicBezTo>
                <a:cubicBezTo>
                  <a:pt x="1126595" y="339830"/>
                  <a:pt x="1135411" y="341178"/>
                  <a:pt x="1144386" y="344566"/>
                </a:cubicBezTo>
                <a:close/>
                <a:moveTo>
                  <a:pt x="1111003" y="421497"/>
                </a:moveTo>
                <a:cubicBezTo>
                  <a:pt x="1119819" y="421497"/>
                  <a:pt x="1126932" y="418269"/>
                  <a:pt x="1132519" y="412859"/>
                </a:cubicBezTo>
                <a:lnTo>
                  <a:pt x="1132519" y="352371"/>
                </a:lnTo>
                <a:cubicBezTo>
                  <a:pt x="1127428" y="351023"/>
                  <a:pt x="1122178" y="350331"/>
                  <a:pt x="1116094" y="350331"/>
                </a:cubicBezTo>
                <a:cubicBezTo>
                  <a:pt x="1093389" y="350331"/>
                  <a:pt x="1083047" y="363546"/>
                  <a:pt x="1083047" y="386251"/>
                </a:cubicBezTo>
                <a:cubicBezTo>
                  <a:pt x="1083047" y="408105"/>
                  <a:pt x="1092537" y="421497"/>
                  <a:pt x="1111003" y="421497"/>
                </a:cubicBezTo>
                <a:close/>
                <a:moveTo>
                  <a:pt x="1236217" y="344566"/>
                </a:moveTo>
                <a:lnTo>
                  <a:pt x="1236217" y="426074"/>
                </a:lnTo>
                <a:cubicBezTo>
                  <a:pt x="1236217" y="449630"/>
                  <a:pt x="1223854" y="464193"/>
                  <a:pt x="1195561" y="464193"/>
                </a:cubicBezTo>
                <a:cubicBezTo>
                  <a:pt x="1186923" y="464193"/>
                  <a:pt x="1178107" y="462668"/>
                  <a:pt x="1170142" y="459280"/>
                </a:cubicBezTo>
                <a:cubicBezTo>
                  <a:pt x="1170142" y="456388"/>
                  <a:pt x="1170657" y="451830"/>
                  <a:pt x="1171331" y="448779"/>
                </a:cubicBezTo>
                <a:cubicBezTo>
                  <a:pt x="1179118" y="452504"/>
                  <a:pt x="1188608" y="454029"/>
                  <a:pt x="1195561" y="454029"/>
                </a:cubicBezTo>
                <a:cubicBezTo>
                  <a:pt x="1213867" y="454029"/>
                  <a:pt x="1224368" y="446579"/>
                  <a:pt x="1224368" y="427599"/>
                </a:cubicBezTo>
                <a:lnTo>
                  <a:pt x="1224368" y="423023"/>
                </a:lnTo>
                <a:cubicBezTo>
                  <a:pt x="1218781" y="427936"/>
                  <a:pt x="1211153" y="431324"/>
                  <a:pt x="1201840" y="431324"/>
                </a:cubicBezTo>
                <a:cubicBezTo>
                  <a:pt x="1177787" y="431324"/>
                  <a:pt x="1162869" y="415235"/>
                  <a:pt x="1162869" y="386251"/>
                </a:cubicBezTo>
                <a:cubicBezTo>
                  <a:pt x="1162869" y="356433"/>
                  <a:pt x="1177610" y="339830"/>
                  <a:pt x="1207942" y="339830"/>
                </a:cubicBezTo>
                <a:cubicBezTo>
                  <a:pt x="1218426" y="339830"/>
                  <a:pt x="1227242" y="341178"/>
                  <a:pt x="1236217" y="344566"/>
                </a:cubicBezTo>
                <a:close/>
                <a:moveTo>
                  <a:pt x="1224350" y="412841"/>
                </a:moveTo>
                <a:lnTo>
                  <a:pt x="1224350" y="352353"/>
                </a:lnTo>
                <a:cubicBezTo>
                  <a:pt x="1219259" y="351005"/>
                  <a:pt x="1214009" y="350313"/>
                  <a:pt x="1207907" y="350313"/>
                </a:cubicBezTo>
                <a:cubicBezTo>
                  <a:pt x="1185202" y="350313"/>
                  <a:pt x="1174860" y="363528"/>
                  <a:pt x="1174860" y="386233"/>
                </a:cubicBezTo>
                <a:cubicBezTo>
                  <a:pt x="1174860" y="408087"/>
                  <a:pt x="1184350" y="421479"/>
                  <a:pt x="1202816" y="421479"/>
                </a:cubicBezTo>
                <a:cubicBezTo>
                  <a:pt x="1211650" y="421497"/>
                  <a:pt x="1218763" y="418269"/>
                  <a:pt x="1224350" y="412841"/>
                </a:cubicBezTo>
                <a:close/>
                <a:moveTo>
                  <a:pt x="1325352" y="389639"/>
                </a:moveTo>
                <a:lnTo>
                  <a:pt x="1262665" y="389639"/>
                </a:lnTo>
                <a:cubicBezTo>
                  <a:pt x="1264191" y="409967"/>
                  <a:pt x="1274869" y="420823"/>
                  <a:pt x="1294186" y="420823"/>
                </a:cubicBezTo>
                <a:cubicBezTo>
                  <a:pt x="1303339" y="420823"/>
                  <a:pt x="1313503" y="418783"/>
                  <a:pt x="1322656" y="413533"/>
                </a:cubicBezTo>
                <a:cubicBezTo>
                  <a:pt x="1322319" y="416584"/>
                  <a:pt x="1321645" y="421160"/>
                  <a:pt x="1320793" y="424885"/>
                </a:cubicBezTo>
                <a:cubicBezTo>
                  <a:pt x="1312315" y="429799"/>
                  <a:pt x="1303516" y="431324"/>
                  <a:pt x="1293849" y="431324"/>
                </a:cubicBezTo>
                <a:cubicBezTo>
                  <a:pt x="1265556" y="431324"/>
                  <a:pt x="1250638" y="414207"/>
                  <a:pt x="1250638" y="385063"/>
                </a:cubicBezTo>
                <a:cubicBezTo>
                  <a:pt x="1250638" y="359821"/>
                  <a:pt x="1261991" y="339830"/>
                  <a:pt x="1289769" y="339830"/>
                </a:cubicBezTo>
                <a:cubicBezTo>
                  <a:pt x="1315188" y="339830"/>
                  <a:pt x="1326026" y="357284"/>
                  <a:pt x="1326026" y="379138"/>
                </a:cubicBezTo>
                <a:cubicBezTo>
                  <a:pt x="1326026" y="382686"/>
                  <a:pt x="1325849" y="386251"/>
                  <a:pt x="1325352" y="389639"/>
                </a:cubicBezTo>
                <a:close/>
                <a:moveTo>
                  <a:pt x="1262647" y="378961"/>
                </a:moveTo>
                <a:lnTo>
                  <a:pt x="1314159" y="378961"/>
                </a:lnTo>
                <a:lnTo>
                  <a:pt x="1314159" y="378287"/>
                </a:lnTo>
                <a:cubicBezTo>
                  <a:pt x="1314159" y="361506"/>
                  <a:pt x="1306017" y="350154"/>
                  <a:pt x="1289255" y="350154"/>
                </a:cubicBezTo>
                <a:cubicBezTo>
                  <a:pt x="1272315" y="350154"/>
                  <a:pt x="1264013" y="361347"/>
                  <a:pt x="1262647" y="378961"/>
                </a:cubicBezTo>
                <a:close/>
                <a:moveTo>
                  <a:pt x="1470043" y="372007"/>
                </a:moveTo>
                <a:lnTo>
                  <a:pt x="1470043" y="429284"/>
                </a:lnTo>
                <a:lnTo>
                  <a:pt x="1458176" y="429284"/>
                </a:lnTo>
                <a:lnTo>
                  <a:pt x="1458176" y="373888"/>
                </a:lnTo>
                <a:cubicBezTo>
                  <a:pt x="1458176" y="358473"/>
                  <a:pt x="1450726" y="350331"/>
                  <a:pt x="1433272" y="350331"/>
                </a:cubicBezTo>
                <a:cubicBezTo>
                  <a:pt x="1425485" y="350331"/>
                  <a:pt x="1417857" y="352194"/>
                  <a:pt x="1410744" y="355245"/>
                </a:cubicBezTo>
                <a:cubicBezTo>
                  <a:pt x="1412607" y="359644"/>
                  <a:pt x="1413618" y="365249"/>
                  <a:pt x="1413618" y="372025"/>
                </a:cubicBezTo>
                <a:lnTo>
                  <a:pt x="1413618" y="429302"/>
                </a:lnTo>
                <a:lnTo>
                  <a:pt x="1401751" y="429302"/>
                </a:lnTo>
                <a:lnTo>
                  <a:pt x="1401751" y="373550"/>
                </a:lnTo>
                <a:cubicBezTo>
                  <a:pt x="1401751" y="357107"/>
                  <a:pt x="1394975" y="350331"/>
                  <a:pt x="1376846" y="350331"/>
                </a:cubicBezTo>
                <a:cubicBezTo>
                  <a:pt x="1370407" y="350331"/>
                  <a:pt x="1363117" y="351183"/>
                  <a:pt x="1356518" y="352708"/>
                </a:cubicBezTo>
                <a:lnTo>
                  <a:pt x="1356518" y="429284"/>
                </a:lnTo>
                <a:lnTo>
                  <a:pt x="1344651" y="429284"/>
                </a:lnTo>
                <a:lnTo>
                  <a:pt x="1344651" y="344566"/>
                </a:lnTo>
                <a:cubicBezTo>
                  <a:pt x="1356004" y="341515"/>
                  <a:pt x="1367197" y="339830"/>
                  <a:pt x="1378035" y="339830"/>
                </a:cubicBezTo>
                <a:cubicBezTo>
                  <a:pt x="1389902" y="339830"/>
                  <a:pt x="1398700" y="342030"/>
                  <a:pt x="1404642" y="346943"/>
                </a:cubicBezTo>
                <a:cubicBezTo>
                  <a:pt x="1413955" y="342544"/>
                  <a:pt x="1423959" y="339830"/>
                  <a:pt x="1434301" y="339830"/>
                </a:cubicBezTo>
                <a:cubicBezTo>
                  <a:pt x="1459879" y="339830"/>
                  <a:pt x="1470043" y="351520"/>
                  <a:pt x="1470043" y="372007"/>
                </a:cubicBezTo>
                <a:close/>
                <a:moveTo>
                  <a:pt x="1561538" y="389639"/>
                </a:moveTo>
                <a:lnTo>
                  <a:pt x="1498850" y="389639"/>
                </a:lnTo>
                <a:cubicBezTo>
                  <a:pt x="1500376" y="409967"/>
                  <a:pt x="1511054" y="420823"/>
                  <a:pt x="1530371" y="420823"/>
                </a:cubicBezTo>
                <a:cubicBezTo>
                  <a:pt x="1539524" y="420823"/>
                  <a:pt x="1549688" y="418783"/>
                  <a:pt x="1558841" y="413533"/>
                </a:cubicBezTo>
                <a:cubicBezTo>
                  <a:pt x="1558504" y="416584"/>
                  <a:pt x="1557830" y="421160"/>
                  <a:pt x="1556979" y="424885"/>
                </a:cubicBezTo>
                <a:cubicBezTo>
                  <a:pt x="1548500" y="429799"/>
                  <a:pt x="1539702" y="431324"/>
                  <a:pt x="1530034" y="431324"/>
                </a:cubicBezTo>
                <a:cubicBezTo>
                  <a:pt x="1501742" y="431324"/>
                  <a:pt x="1486824" y="414207"/>
                  <a:pt x="1486824" y="385063"/>
                </a:cubicBezTo>
                <a:cubicBezTo>
                  <a:pt x="1486824" y="359821"/>
                  <a:pt x="1498176" y="339830"/>
                  <a:pt x="1525972" y="339830"/>
                </a:cubicBezTo>
                <a:cubicBezTo>
                  <a:pt x="1551391" y="339830"/>
                  <a:pt x="1562229" y="357284"/>
                  <a:pt x="1562229" y="379138"/>
                </a:cubicBezTo>
                <a:cubicBezTo>
                  <a:pt x="1562212" y="382686"/>
                  <a:pt x="1562052" y="386251"/>
                  <a:pt x="1561538" y="389639"/>
                </a:cubicBezTo>
                <a:close/>
                <a:moveTo>
                  <a:pt x="1498850" y="378961"/>
                </a:moveTo>
                <a:lnTo>
                  <a:pt x="1550362" y="378961"/>
                </a:lnTo>
                <a:lnTo>
                  <a:pt x="1550362" y="378287"/>
                </a:lnTo>
                <a:cubicBezTo>
                  <a:pt x="1550362" y="361506"/>
                  <a:pt x="1542238" y="350154"/>
                  <a:pt x="1525458" y="350154"/>
                </a:cubicBezTo>
                <a:cubicBezTo>
                  <a:pt x="1508500" y="350154"/>
                  <a:pt x="1500198" y="361347"/>
                  <a:pt x="1498850" y="378961"/>
                </a:cubicBezTo>
                <a:close/>
                <a:moveTo>
                  <a:pt x="1650992" y="372007"/>
                </a:moveTo>
                <a:lnTo>
                  <a:pt x="1650992" y="429284"/>
                </a:lnTo>
                <a:lnTo>
                  <a:pt x="1639125" y="429284"/>
                </a:lnTo>
                <a:lnTo>
                  <a:pt x="1639125" y="374225"/>
                </a:lnTo>
                <a:cubicBezTo>
                  <a:pt x="1639125" y="358473"/>
                  <a:pt x="1633200" y="350331"/>
                  <a:pt x="1612358" y="350331"/>
                </a:cubicBezTo>
                <a:cubicBezTo>
                  <a:pt x="1606256" y="350331"/>
                  <a:pt x="1599143" y="351183"/>
                  <a:pt x="1592704" y="352708"/>
                </a:cubicBezTo>
                <a:lnTo>
                  <a:pt x="1592704" y="429284"/>
                </a:lnTo>
                <a:lnTo>
                  <a:pt x="1580837" y="429284"/>
                </a:lnTo>
                <a:lnTo>
                  <a:pt x="1580837" y="344566"/>
                </a:lnTo>
                <a:cubicBezTo>
                  <a:pt x="1592189" y="341515"/>
                  <a:pt x="1603205" y="339830"/>
                  <a:pt x="1612695" y="339830"/>
                </a:cubicBezTo>
                <a:cubicBezTo>
                  <a:pt x="1641342" y="339830"/>
                  <a:pt x="1650992" y="351520"/>
                  <a:pt x="1650992" y="372007"/>
                </a:cubicBezTo>
                <a:close/>
                <a:moveTo>
                  <a:pt x="1715045" y="418446"/>
                </a:moveTo>
                <a:cubicBezTo>
                  <a:pt x="1714708" y="421674"/>
                  <a:pt x="1714193" y="425400"/>
                  <a:pt x="1713519" y="428610"/>
                </a:cubicBezTo>
                <a:cubicBezTo>
                  <a:pt x="1708428" y="430473"/>
                  <a:pt x="1703515" y="431324"/>
                  <a:pt x="1698264" y="431324"/>
                </a:cubicBezTo>
                <a:cubicBezTo>
                  <a:pt x="1681998" y="431324"/>
                  <a:pt x="1671994" y="423200"/>
                  <a:pt x="1671994" y="404220"/>
                </a:cubicBezTo>
                <a:lnTo>
                  <a:pt x="1671994" y="312903"/>
                </a:lnTo>
                <a:cubicBezTo>
                  <a:pt x="1675559" y="311715"/>
                  <a:pt x="1680295" y="311041"/>
                  <a:pt x="1683861" y="311041"/>
                </a:cubicBezTo>
                <a:lnTo>
                  <a:pt x="1683861" y="342384"/>
                </a:lnTo>
                <a:lnTo>
                  <a:pt x="1714530" y="342384"/>
                </a:lnTo>
                <a:cubicBezTo>
                  <a:pt x="1714353" y="346446"/>
                  <a:pt x="1714016" y="349834"/>
                  <a:pt x="1713342" y="353063"/>
                </a:cubicBezTo>
                <a:lnTo>
                  <a:pt x="1683861" y="353063"/>
                </a:lnTo>
                <a:lnTo>
                  <a:pt x="1683861" y="402872"/>
                </a:lnTo>
                <a:cubicBezTo>
                  <a:pt x="1683861" y="415750"/>
                  <a:pt x="1689785" y="421178"/>
                  <a:pt x="1700304" y="421178"/>
                </a:cubicBezTo>
                <a:cubicBezTo>
                  <a:pt x="1705058" y="421160"/>
                  <a:pt x="1710468" y="420131"/>
                  <a:pt x="1715045" y="418446"/>
                </a:cubicBezTo>
                <a:close/>
                <a:moveTo>
                  <a:pt x="190935" y="116097"/>
                </a:moveTo>
                <a:cubicBezTo>
                  <a:pt x="190545" y="106962"/>
                  <a:pt x="187990" y="97898"/>
                  <a:pt x="183254" y="89720"/>
                </a:cubicBezTo>
                <a:lnTo>
                  <a:pt x="141534" y="17472"/>
                </a:lnTo>
                <a:cubicBezTo>
                  <a:pt x="138359" y="11956"/>
                  <a:pt x="136159" y="6049"/>
                  <a:pt x="134935" y="0"/>
                </a:cubicBezTo>
                <a:lnTo>
                  <a:pt x="133197" y="3016"/>
                </a:lnTo>
                <a:cubicBezTo>
                  <a:pt x="122873" y="20896"/>
                  <a:pt x="122873" y="42927"/>
                  <a:pt x="133197" y="60807"/>
                </a:cubicBezTo>
                <a:lnTo>
                  <a:pt x="166563" y="118598"/>
                </a:lnTo>
                <a:cubicBezTo>
                  <a:pt x="176886" y="136478"/>
                  <a:pt x="176886" y="158509"/>
                  <a:pt x="166563" y="176389"/>
                </a:cubicBezTo>
                <a:lnTo>
                  <a:pt x="164824" y="179405"/>
                </a:lnTo>
                <a:cubicBezTo>
                  <a:pt x="163600" y="173356"/>
                  <a:pt x="161401" y="167449"/>
                  <a:pt x="158226" y="161933"/>
                </a:cubicBezTo>
                <a:lnTo>
                  <a:pt x="127680" y="109037"/>
                </a:lnTo>
                <a:lnTo>
                  <a:pt x="108168" y="75264"/>
                </a:lnTo>
                <a:cubicBezTo>
                  <a:pt x="104993" y="69747"/>
                  <a:pt x="102793" y="63858"/>
                  <a:pt x="101569" y="57791"/>
                </a:cubicBezTo>
                <a:lnTo>
                  <a:pt x="99831" y="60807"/>
                </a:lnTo>
                <a:cubicBezTo>
                  <a:pt x="89543" y="78634"/>
                  <a:pt x="89507" y="100576"/>
                  <a:pt x="99725" y="118421"/>
                </a:cubicBezTo>
                <a:lnTo>
                  <a:pt x="99725" y="118421"/>
                </a:lnTo>
                <a:lnTo>
                  <a:pt x="133197" y="176389"/>
                </a:lnTo>
                <a:cubicBezTo>
                  <a:pt x="143521" y="194270"/>
                  <a:pt x="143521" y="216301"/>
                  <a:pt x="133197" y="234181"/>
                </a:cubicBezTo>
                <a:lnTo>
                  <a:pt x="131459" y="237196"/>
                </a:lnTo>
                <a:cubicBezTo>
                  <a:pt x="130235" y="231148"/>
                  <a:pt x="128035" y="225241"/>
                  <a:pt x="124860" y="219724"/>
                </a:cubicBezTo>
                <a:lnTo>
                  <a:pt x="83157" y="147494"/>
                </a:lnTo>
                <a:cubicBezTo>
                  <a:pt x="77570" y="137809"/>
                  <a:pt x="75015" y="126900"/>
                  <a:pt x="75476" y="116097"/>
                </a:cubicBezTo>
                <a:cubicBezTo>
                  <a:pt x="30811" y="127769"/>
                  <a:pt x="0" y="152531"/>
                  <a:pt x="0" y="181214"/>
                </a:cubicBezTo>
                <a:cubicBezTo>
                  <a:pt x="0" y="221108"/>
                  <a:pt x="59636" y="253462"/>
                  <a:pt x="133197" y="253462"/>
                </a:cubicBezTo>
                <a:cubicBezTo>
                  <a:pt x="206758" y="253462"/>
                  <a:pt x="266394" y="221125"/>
                  <a:pt x="266394" y="181214"/>
                </a:cubicBezTo>
                <a:cubicBezTo>
                  <a:pt x="266394" y="152531"/>
                  <a:pt x="235582" y="127751"/>
                  <a:pt x="190935" y="116097"/>
                </a:cubicBezTo>
                <a:close/>
                <a:moveTo>
                  <a:pt x="316682" y="239449"/>
                </a:moveTo>
                <a:cubicBezTo>
                  <a:pt x="317178" y="229196"/>
                  <a:pt x="318686" y="222190"/>
                  <a:pt x="321436" y="214172"/>
                </a:cubicBezTo>
                <a:cubicBezTo>
                  <a:pt x="335449" y="220682"/>
                  <a:pt x="353453" y="223928"/>
                  <a:pt x="367218" y="223928"/>
                </a:cubicBezTo>
                <a:cubicBezTo>
                  <a:pt x="390491" y="223928"/>
                  <a:pt x="403493" y="216425"/>
                  <a:pt x="403493" y="201667"/>
                </a:cubicBezTo>
                <a:cubicBezTo>
                  <a:pt x="403493" y="187157"/>
                  <a:pt x="393985" y="180398"/>
                  <a:pt x="370464" y="170146"/>
                </a:cubicBezTo>
                <a:lnTo>
                  <a:pt x="357710" y="164647"/>
                </a:lnTo>
                <a:cubicBezTo>
                  <a:pt x="334189" y="154394"/>
                  <a:pt x="318172" y="141126"/>
                  <a:pt x="318172" y="114607"/>
                </a:cubicBezTo>
                <a:cubicBezTo>
                  <a:pt x="318172" y="86084"/>
                  <a:pt x="337932" y="67813"/>
                  <a:pt x="378464" y="67813"/>
                </a:cubicBezTo>
                <a:cubicBezTo>
                  <a:pt x="394730" y="67813"/>
                  <a:pt x="409985" y="70066"/>
                  <a:pt x="424247" y="75068"/>
                </a:cubicBezTo>
                <a:cubicBezTo>
                  <a:pt x="423502" y="85073"/>
                  <a:pt x="421746" y="92824"/>
                  <a:pt x="419245" y="100097"/>
                </a:cubicBezTo>
                <a:cubicBezTo>
                  <a:pt x="405728" y="95095"/>
                  <a:pt x="389728" y="92842"/>
                  <a:pt x="378216" y="92842"/>
                </a:cubicBezTo>
                <a:cubicBezTo>
                  <a:pt x="356451" y="92842"/>
                  <a:pt x="346447" y="101357"/>
                  <a:pt x="346447" y="114607"/>
                </a:cubicBezTo>
                <a:cubicBezTo>
                  <a:pt x="346447" y="127627"/>
                  <a:pt x="356203" y="135130"/>
                  <a:pt x="373710" y="142634"/>
                </a:cubicBezTo>
                <a:lnTo>
                  <a:pt x="387227" y="148381"/>
                </a:lnTo>
                <a:cubicBezTo>
                  <a:pt x="418996" y="161897"/>
                  <a:pt x="432264" y="176159"/>
                  <a:pt x="432264" y="200425"/>
                </a:cubicBezTo>
                <a:cubicBezTo>
                  <a:pt x="432264" y="229196"/>
                  <a:pt x="410500" y="248957"/>
                  <a:pt x="367963" y="248957"/>
                </a:cubicBezTo>
                <a:cubicBezTo>
                  <a:pt x="347458" y="248957"/>
                  <a:pt x="330695" y="245941"/>
                  <a:pt x="316682" y="239449"/>
                </a:cubicBezTo>
                <a:close/>
                <a:moveTo>
                  <a:pt x="566632" y="119840"/>
                </a:moveTo>
                <a:lnTo>
                  <a:pt x="566632" y="244948"/>
                </a:lnTo>
                <a:lnTo>
                  <a:pt x="541373" y="244948"/>
                </a:lnTo>
                <a:lnTo>
                  <a:pt x="539865" y="229941"/>
                </a:lnTo>
                <a:cubicBezTo>
                  <a:pt x="532858" y="240957"/>
                  <a:pt x="522109" y="247946"/>
                  <a:pt x="504584" y="247946"/>
                </a:cubicBezTo>
                <a:cubicBezTo>
                  <a:pt x="471555" y="247946"/>
                  <a:pt x="449542" y="223928"/>
                  <a:pt x="449542" y="181888"/>
                </a:cubicBezTo>
                <a:cubicBezTo>
                  <a:pt x="449542" y="137844"/>
                  <a:pt x="473063" y="112833"/>
                  <a:pt x="519342" y="112833"/>
                </a:cubicBezTo>
                <a:cubicBezTo>
                  <a:pt x="537364" y="112833"/>
                  <a:pt x="552122" y="114838"/>
                  <a:pt x="566632" y="119840"/>
                </a:cubicBezTo>
                <a:close/>
                <a:moveTo>
                  <a:pt x="539120" y="216425"/>
                </a:moveTo>
                <a:lnTo>
                  <a:pt x="539120" y="137862"/>
                </a:lnTo>
                <a:cubicBezTo>
                  <a:pt x="533373" y="136869"/>
                  <a:pt x="527111" y="136354"/>
                  <a:pt x="519360" y="136354"/>
                </a:cubicBezTo>
                <a:cubicBezTo>
                  <a:pt x="490836" y="136354"/>
                  <a:pt x="477568" y="153862"/>
                  <a:pt x="477568" y="181888"/>
                </a:cubicBezTo>
                <a:cubicBezTo>
                  <a:pt x="477568" y="207414"/>
                  <a:pt x="487821" y="225418"/>
                  <a:pt x="512353" y="225418"/>
                </a:cubicBezTo>
                <a:cubicBezTo>
                  <a:pt x="523102" y="225436"/>
                  <a:pt x="531865" y="221924"/>
                  <a:pt x="539120" y="216425"/>
                </a:cubicBezTo>
                <a:close/>
                <a:moveTo>
                  <a:pt x="707510" y="160886"/>
                </a:moveTo>
                <a:lnTo>
                  <a:pt x="707510" y="244948"/>
                </a:lnTo>
                <a:lnTo>
                  <a:pt x="679980" y="244948"/>
                </a:lnTo>
                <a:lnTo>
                  <a:pt x="679980" y="165640"/>
                </a:lnTo>
                <a:cubicBezTo>
                  <a:pt x="679980" y="145880"/>
                  <a:pt x="673470" y="136372"/>
                  <a:pt x="645958" y="136372"/>
                </a:cubicBezTo>
                <a:cubicBezTo>
                  <a:pt x="639448" y="136372"/>
                  <a:pt x="631696" y="137117"/>
                  <a:pt x="624193" y="138376"/>
                </a:cubicBezTo>
                <a:lnTo>
                  <a:pt x="624193" y="244966"/>
                </a:lnTo>
                <a:lnTo>
                  <a:pt x="596663" y="244966"/>
                </a:lnTo>
                <a:lnTo>
                  <a:pt x="596663" y="119840"/>
                </a:lnTo>
                <a:cubicBezTo>
                  <a:pt x="614171" y="115583"/>
                  <a:pt x="633435" y="112833"/>
                  <a:pt x="646703" y="112833"/>
                </a:cubicBezTo>
                <a:cubicBezTo>
                  <a:pt x="692751" y="112833"/>
                  <a:pt x="707510" y="130607"/>
                  <a:pt x="707510" y="160886"/>
                </a:cubicBezTo>
                <a:close/>
                <a:moveTo>
                  <a:pt x="783820" y="224425"/>
                </a:moveTo>
                <a:cubicBezTo>
                  <a:pt x="791820" y="224425"/>
                  <a:pt x="799341" y="222917"/>
                  <a:pt x="805336" y="220664"/>
                </a:cubicBezTo>
                <a:cubicBezTo>
                  <a:pt x="804591" y="228168"/>
                  <a:pt x="803580" y="236682"/>
                  <a:pt x="802090" y="243937"/>
                </a:cubicBezTo>
                <a:cubicBezTo>
                  <a:pt x="794587" y="246935"/>
                  <a:pt x="786587" y="247946"/>
                  <a:pt x="778818" y="247946"/>
                </a:cubicBezTo>
                <a:cubicBezTo>
                  <a:pt x="752050" y="247946"/>
                  <a:pt x="735039" y="235689"/>
                  <a:pt x="735039" y="205161"/>
                </a:cubicBezTo>
                <a:lnTo>
                  <a:pt x="735039" y="73809"/>
                </a:lnTo>
                <a:cubicBezTo>
                  <a:pt x="743554" y="71060"/>
                  <a:pt x="754055" y="69800"/>
                  <a:pt x="762569" y="69800"/>
                </a:cubicBezTo>
                <a:lnTo>
                  <a:pt x="762569" y="117090"/>
                </a:lnTo>
                <a:lnTo>
                  <a:pt x="806099" y="117090"/>
                </a:lnTo>
                <a:cubicBezTo>
                  <a:pt x="805602" y="125605"/>
                  <a:pt x="804857" y="133356"/>
                  <a:pt x="803598" y="140611"/>
                </a:cubicBezTo>
                <a:lnTo>
                  <a:pt x="762569" y="140611"/>
                </a:lnTo>
                <a:lnTo>
                  <a:pt x="762569" y="201915"/>
                </a:lnTo>
                <a:cubicBezTo>
                  <a:pt x="762552" y="218181"/>
                  <a:pt x="770569" y="224425"/>
                  <a:pt x="783820" y="224425"/>
                </a:cubicBezTo>
                <a:close/>
                <a:moveTo>
                  <a:pt x="931456" y="119840"/>
                </a:moveTo>
                <a:lnTo>
                  <a:pt x="931456" y="244948"/>
                </a:lnTo>
                <a:lnTo>
                  <a:pt x="906178" y="244948"/>
                </a:lnTo>
                <a:lnTo>
                  <a:pt x="904671" y="229941"/>
                </a:lnTo>
                <a:cubicBezTo>
                  <a:pt x="897664" y="240957"/>
                  <a:pt x="886915" y="247946"/>
                  <a:pt x="869389" y="247946"/>
                </a:cubicBezTo>
                <a:cubicBezTo>
                  <a:pt x="836361" y="247946"/>
                  <a:pt x="814347" y="223928"/>
                  <a:pt x="814347" y="181888"/>
                </a:cubicBezTo>
                <a:cubicBezTo>
                  <a:pt x="814347" y="137844"/>
                  <a:pt x="837868" y="112833"/>
                  <a:pt x="884148" y="112833"/>
                </a:cubicBezTo>
                <a:cubicBezTo>
                  <a:pt x="902170" y="112833"/>
                  <a:pt x="916928" y="114838"/>
                  <a:pt x="931456" y="119840"/>
                </a:cubicBezTo>
                <a:close/>
                <a:moveTo>
                  <a:pt x="903926" y="216425"/>
                </a:moveTo>
                <a:lnTo>
                  <a:pt x="903926" y="137862"/>
                </a:lnTo>
                <a:cubicBezTo>
                  <a:pt x="898179" y="136869"/>
                  <a:pt x="891917" y="136354"/>
                  <a:pt x="884165" y="136354"/>
                </a:cubicBezTo>
                <a:cubicBezTo>
                  <a:pt x="855642" y="136354"/>
                  <a:pt x="842374" y="153862"/>
                  <a:pt x="842374" y="181888"/>
                </a:cubicBezTo>
                <a:cubicBezTo>
                  <a:pt x="842374" y="207414"/>
                  <a:pt x="852627" y="225418"/>
                  <a:pt x="877159" y="225418"/>
                </a:cubicBezTo>
                <a:cubicBezTo>
                  <a:pt x="887908" y="225436"/>
                  <a:pt x="896671" y="221924"/>
                  <a:pt x="903926" y="216425"/>
                </a:cubicBezTo>
                <a:close/>
                <a:moveTo>
                  <a:pt x="1072315" y="160886"/>
                </a:moveTo>
                <a:lnTo>
                  <a:pt x="1072315" y="244948"/>
                </a:lnTo>
                <a:lnTo>
                  <a:pt x="1044786" y="244948"/>
                </a:lnTo>
                <a:lnTo>
                  <a:pt x="1044786" y="165640"/>
                </a:lnTo>
                <a:cubicBezTo>
                  <a:pt x="1044786" y="145880"/>
                  <a:pt x="1038276" y="136372"/>
                  <a:pt x="1010763" y="136372"/>
                </a:cubicBezTo>
                <a:cubicBezTo>
                  <a:pt x="1004254" y="136372"/>
                  <a:pt x="996502" y="137117"/>
                  <a:pt x="988999" y="138376"/>
                </a:cubicBezTo>
                <a:lnTo>
                  <a:pt x="988999" y="244966"/>
                </a:lnTo>
                <a:lnTo>
                  <a:pt x="961469" y="244966"/>
                </a:lnTo>
                <a:lnTo>
                  <a:pt x="961469" y="119840"/>
                </a:lnTo>
                <a:cubicBezTo>
                  <a:pt x="978977" y="115583"/>
                  <a:pt x="998240" y="112833"/>
                  <a:pt x="1011508" y="112833"/>
                </a:cubicBezTo>
                <a:cubicBezTo>
                  <a:pt x="1057557" y="112833"/>
                  <a:pt x="1072315" y="130607"/>
                  <a:pt x="1072315" y="160886"/>
                </a:cubicBezTo>
                <a:close/>
                <a:moveTo>
                  <a:pt x="1211933" y="69800"/>
                </a:moveTo>
                <a:lnTo>
                  <a:pt x="1211933" y="244930"/>
                </a:lnTo>
                <a:lnTo>
                  <a:pt x="1186656" y="244930"/>
                </a:lnTo>
                <a:lnTo>
                  <a:pt x="1185149" y="228913"/>
                </a:lnTo>
                <a:cubicBezTo>
                  <a:pt x="1178142" y="240673"/>
                  <a:pt x="1167393" y="247928"/>
                  <a:pt x="1149371" y="247928"/>
                </a:cubicBezTo>
                <a:cubicBezTo>
                  <a:pt x="1116342" y="247928"/>
                  <a:pt x="1094329" y="223910"/>
                  <a:pt x="1094329" y="181871"/>
                </a:cubicBezTo>
                <a:cubicBezTo>
                  <a:pt x="1094329" y="137826"/>
                  <a:pt x="1117850" y="112815"/>
                  <a:pt x="1164129" y="112815"/>
                </a:cubicBezTo>
                <a:cubicBezTo>
                  <a:pt x="1171384" y="112815"/>
                  <a:pt x="1178142" y="113560"/>
                  <a:pt x="1184652" y="114820"/>
                </a:cubicBezTo>
                <a:lnTo>
                  <a:pt x="1184652" y="73561"/>
                </a:lnTo>
                <a:cubicBezTo>
                  <a:pt x="1193166" y="70563"/>
                  <a:pt x="1202922" y="69800"/>
                  <a:pt x="1211933" y="69800"/>
                </a:cubicBezTo>
                <a:close/>
                <a:moveTo>
                  <a:pt x="1184652" y="215928"/>
                </a:moveTo>
                <a:lnTo>
                  <a:pt x="1184652" y="138855"/>
                </a:lnTo>
                <a:cubicBezTo>
                  <a:pt x="1177397" y="137348"/>
                  <a:pt x="1169894" y="136354"/>
                  <a:pt x="1162639" y="136354"/>
                </a:cubicBezTo>
                <a:cubicBezTo>
                  <a:pt x="1135375" y="136354"/>
                  <a:pt x="1122355" y="153365"/>
                  <a:pt x="1122355" y="181888"/>
                </a:cubicBezTo>
                <a:cubicBezTo>
                  <a:pt x="1122355" y="207414"/>
                  <a:pt x="1132608" y="225418"/>
                  <a:pt x="1157140" y="225418"/>
                </a:cubicBezTo>
                <a:cubicBezTo>
                  <a:pt x="1168138" y="225436"/>
                  <a:pt x="1177149" y="221675"/>
                  <a:pt x="1184652" y="215928"/>
                </a:cubicBezTo>
                <a:close/>
                <a:moveTo>
                  <a:pt x="1350292" y="191396"/>
                </a:moveTo>
                <a:lnTo>
                  <a:pt x="1262470" y="191396"/>
                </a:lnTo>
                <a:cubicBezTo>
                  <a:pt x="1265964" y="213658"/>
                  <a:pt x="1278984" y="224425"/>
                  <a:pt x="1303499" y="224425"/>
                </a:cubicBezTo>
                <a:cubicBezTo>
                  <a:pt x="1318505" y="224425"/>
                  <a:pt x="1333778" y="221179"/>
                  <a:pt x="1347525" y="214917"/>
                </a:cubicBezTo>
                <a:cubicBezTo>
                  <a:pt x="1346532" y="222172"/>
                  <a:pt x="1345024" y="231680"/>
                  <a:pt x="1343268" y="239928"/>
                </a:cubicBezTo>
                <a:cubicBezTo>
                  <a:pt x="1330762" y="245675"/>
                  <a:pt x="1317494" y="247928"/>
                  <a:pt x="1302736" y="247928"/>
                </a:cubicBezTo>
                <a:cubicBezTo>
                  <a:pt x="1256705" y="247928"/>
                  <a:pt x="1234426" y="222403"/>
                  <a:pt x="1234426" y="179618"/>
                </a:cubicBezTo>
                <a:cubicBezTo>
                  <a:pt x="1234426" y="142332"/>
                  <a:pt x="1251685" y="112815"/>
                  <a:pt x="1295481" y="112815"/>
                </a:cubicBezTo>
                <a:cubicBezTo>
                  <a:pt x="1334753" y="112815"/>
                  <a:pt x="1351782" y="138589"/>
                  <a:pt x="1351782" y="170110"/>
                </a:cubicBezTo>
                <a:cubicBezTo>
                  <a:pt x="1351800" y="177897"/>
                  <a:pt x="1351303" y="184141"/>
                  <a:pt x="1350292" y="191396"/>
                </a:cubicBezTo>
                <a:close/>
                <a:moveTo>
                  <a:pt x="1261973" y="168390"/>
                </a:moveTo>
                <a:lnTo>
                  <a:pt x="1324022" y="168390"/>
                </a:lnTo>
                <a:cubicBezTo>
                  <a:pt x="1324022" y="147866"/>
                  <a:pt x="1313006" y="135858"/>
                  <a:pt x="1293991" y="135858"/>
                </a:cubicBezTo>
                <a:cubicBezTo>
                  <a:pt x="1274479" y="135858"/>
                  <a:pt x="1264226" y="147121"/>
                  <a:pt x="1261973" y="168390"/>
                </a:cubicBezTo>
                <a:close/>
                <a:moveTo>
                  <a:pt x="1446629" y="113844"/>
                </a:moveTo>
                <a:cubicBezTo>
                  <a:pt x="1446629" y="122110"/>
                  <a:pt x="1445635" y="132115"/>
                  <a:pt x="1444128" y="137365"/>
                </a:cubicBezTo>
                <a:cubicBezTo>
                  <a:pt x="1437618" y="136620"/>
                  <a:pt x="1431126" y="136372"/>
                  <a:pt x="1423356" y="136372"/>
                </a:cubicBezTo>
                <a:cubicBezTo>
                  <a:pt x="1416598" y="136372"/>
                  <a:pt x="1409840" y="136869"/>
                  <a:pt x="1403099" y="137880"/>
                </a:cubicBezTo>
                <a:lnTo>
                  <a:pt x="1403099" y="244966"/>
                </a:lnTo>
                <a:lnTo>
                  <a:pt x="1375569" y="244966"/>
                </a:lnTo>
                <a:lnTo>
                  <a:pt x="1375569" y="119840"/>
                </a:lnTo>
                <a:cubicBezTo>
                  <a:pt x="1387330" y="115831"/>
                  <a:pt x="1407090" y="112833"/>
                  <a:pt x="1422611" y="112833"/>
                </a:cubicBezTo>
                <a:cubicBezTo>
                  <a:pt x="1431108" y="112833"/>
                  <a:pt x="1440616" y="113099"/>
                  <a:pt x="1446629" y="113844"/>
                </a:cubicBezTo>
                <a:close/>
              </a:path>
            </a:pathLst>
          </a:custGeom>
          <a:solidFill>
            <a:schemeClr val="bg1"/>
          </a:solidFill>
          <a:ln w="1773" cap="flat">
            <a:noFill/>
            <a:prstDash val="solid"/>
            <a:miter/>
          </a:ln>
        </p:spPr>
        <p:txBody>
          <a:bodyPr rtlCol="0" anchor="ctr"/>
          <a:lstStyle/>
          <a:p>
            <a:endParaRPr lang="es-ES"/>
          </a:p>
        </p:txBody>
      </p:sp>
    </p:spTree>
    <p:extLst>
      <p:ext uri="{BB962C8B-B14F-4D97-AF65-F5344CB8AC3E}">
        <p14:creationId xmlns:p14="http://schemas.microsoft.com/office/powerpoint/2010/main" val="29152848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42029639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menu01">
    <p:spTree>
      <p:nvGrpSpPr>
        <p:cNvPr id="1" name=""/>
        <p:cNvGrpSpPr/>
        <p:nvPr/>
      </p:nvGrpSpPr>
      <p:grpSpPr>
        <a:xfrm>
          <a:off x="0" y="0"/>
          <a:ext cx="0" cy="0"/>
          <a:chOff x="0" y="0"/>
          <a:chExt cx="0" cy="0"/>
        </a:xfrm>
      </p:grpSpPr>
      <p:sp>
        <p:nvSpPr>
          <p:cNvPr id="2" name="object 9">
            <a:extLst>
              <a:ext uri="{FF2B5EF4-FFF2-40B4-BE49-F238E27FC236}">
                <a16:creationId xmlns:a16="http://schemas.microsoft.com/office/drawing/2014/main" id="{0B429C32-CFE7-4D4D-92DC-A9FFC3742143}"/>
              </a:ext>
            </a:extLst>
          </p:cNvPr>
          <p:cNvSpPr txBox="1">
            <a:spLocks noGrp="1"/>
          </p:cNvSpPr>
          <p:nvPr>
            <p:ph type="sldNum" sz="quarter" idx="4"/>
          </p:nvPr>
        </p:nvSpPr>
        <p:spPr>
          <a:xfrm>
            <a:off x="180975" y="6455099"/>
            <a:ext cx="376239" cy="180177"/>
          </a:xfrm>
          <a:prstGeom prst="rect">
            <a:avLst/>
          </a:prstGeom>
        </p:spPr>
        <p:txBody>
          <a:bodyPr vert="horz" wrap="square" lIns="0" tIns="26034" rIns="0" bIns="0" rtlCol="0">
            <a:spAutoFit/>
          </a:bodyPr>
          <a:lstStyle>
            <a:lvl1pPr algn="r">
              <a:defRPr lang="es-ES" sz="1000" b="0" i="0" smtClean="0">
                <a:solidFill>
                  <a:srgbClr val="005370"/>
                </a:solidFill>
                <a:latin typeface="Santander Headline"/>
                <a:cs typeface="Santander Headline"/>
              </a:defRPr>
            </a:lvl1pPr>
          </a:lstStyle>
          <a:p>
            <a:pPr marL="107314">
              <a:spcBef>
                <a:spcPts val="204"/>
              </a:spcBef>
            </a:pPr>
            <a:fld id="{81D60167-4931-47E6-BA6A-407CBD079E47}" type="slidenum">
              <a:rPr lang="es-ES" smtClean="0"/>
              <a:pPr marL="107314">
                <a:spcBef>
                  <a:spcPts val="204"/>
                </a:spcBef>
              </a:pPr>
              <a:t>‹Nº›</a:t>
            </a:fld>
            <a:endParaRPr lang="es-ES" dirty="0"/>
          </a:p>
        </p:txBody>
      </p:sp>
    </p:spTree>
    <p:extLst>
      <p:ext uri="{BB962C8B-B14F-4D97-AF65-F5344CB8AC3E}">
        <p14:creationId xmlns:p14="http://schemas.microsoft.com/office/powerpoint/2010/main" val="121698631"/>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age with image_03 lines">
    <p:spTree>
      <p:nvGrpSpPr>
        <p:cNvPr id="1" name=""/>
        <p:cNvGrpSpPr/>
        <p:nvPr/>
      </p:nvGrpSpPr>
      <p:grpSpPr>
        <a:xfrm>
          <a:off x="0" y="0"/>
          <a:ext cx="0" cy="0"/>
          <a:chOff x="0" y="0"/>
          <a:chExt cx="0" cy="0"/>
        </a:xfrm>
      </p:grpSpPr>
      <p:pic>
        <p:nvPicPr>
          <p:cNvPr id="7" name="Imagen 6" descr="Imagen que contiene verde, alfombra&#10;&#10;Descripción generada automáticamente">
            <a:extLst>
              <a:ext uri="{FF2B5EF4-FFF2-40B4-BE49-F238E27FC236}">
                <a16:creationId xmlns:a16="http://schemas.microsoft.com/office/drawing/2014/main" id="{525BFB9F-A664-4A6B-8166-6B2BB3BBE4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5"/>
            <a:ext cx="12191999" cy="5551712"/>
          </a:xfrm>
          <a:prstGeom prst="rect">
            <a:avLst/>
          </a:prstGeom>
        </p:spPr>
      </p:pic>
      <p:sp>
        <p:nvSpPr>
          <p:cNvPr id="10" name="Rectángulo 9">
            <a:extLst>
              <a:ext uri="{FF2B5EF4-FFF2-40B4-BE49-F238E27FC236}">
                <a16:creationId xmlns:a16="http://schemas.microsoft.com/office/drawing/2014/main" id="{BCC703BB-CD97-4DC0-9769-DBAED9EFB152}"/>
              </a:ext>
            </a:extLst>
          </p:cNvPr>
          <p:cNvSpPr/>
          <p:nvPr userDrawn="1"/>
        </p:nvSpPr>
        <p:spPr>
          <a:xfrm>
            <a:off x="0" y="653144"/>
            <a:ext cx="11955780" cy="5464174"/>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8BC40F42-C737-423E-8BCF-90CBAB91E4EE}"/>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BB381F8E-DC47-4F62-A060-8D0B3656EC4A}"/>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DC3012CF-A3F9-4E31-B261-1CE8089D2663}"/>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E6E0B8DB-29B0-4CEE-8795-3BFF3B0207A3}"/>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2524052160"/>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age with image_05 lines">
    <p:spTree>
      <p:nvGrpSpPr>
        <p:cNvPr id="1" name=""/>
        <p:cNvGrpSpPr/>
        <p:nvPr/>
      </p:nvGrpSpPr>
      <p:grpSpPr>
        <a:xfrm>
          <a:off x="0" y="0"/>
          <a:ext cx="0" cy="0"/>
          <a:chOff x="0" y="0"/>
          <a:chExt cx="0" cy="0"/>
        </a:xfrm>
      </p:grpSpPr>
      <p:pic>
        <p:nvPicPr>
          <p:cNvPr id="8" name="Imagen 7" descr="Una persona hablando por teléfono en la calle&#10;&#10;Descripción generada automáticamente con confianza baja">
            <a:extLst>
              <a:ext uri="{FF2B5EF4-FFF2-40B4-BE49-F238E27FC236}">
                <a16:creationId xmlns:a16="http://schemas.microsoft.com/office/drawing/2014/main" id="{E846C4AB-7134-460E-A356-9F9CFC90B1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7"/>
            <a:ext cx="12182476" cy="5896344"/>
          </a:xfrm>
          <a:prstGeom prst="rect">
            <a:avLst/>
          </a:prstGeom>
        </p:spPr>
      </p:pic>
      <p:sp>
        <p:nvSpPr>
          <p:cNvPr id="10" name="Rectángulo 9">
            <a:extLst>
              <a:ext uri="{FF2B5EF4-FFF2-40B4-BE49-F238E27FC236}">
                <a16:creationId xmlns:a16="http://schemas.microsoft.com/office/drawing/2014/main" id="{89065A16-2004-462F-81B2-AEBBBA83A9E8}"/>
              </a:ext>
            </a:extLst>
          </p:cNvPr>
          <p:cNvSpPr/>
          <p:nvPr userDrawn="1"/>
        </p:nvSpPr>
        <p:spPr>
          <a:xfrm>
            <a:off x="-1" y="637807"/>
            <a:ext cx="12192001" cy="6220193"/>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7" name="Conector recto 6">
            <a:extLst>
              <a:ext uri="{FF2B5EF4-FFF2-40B4-BE49-F238E27FC236}">
                <a16:creationId xmlns:a16="http://schemas.microsoft.com/office/drawing/2014/main" id="{017AEF31-2D86-48F9-9861-27D4B546456F}"/>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DBD5407F-3EB9-43A8-A3F3-F74CDA9CC5AB}"/>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3FF75DF3-7F8C-4DAE-A209-547F2A87DA4D}"/>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F596EFE0-11D3-4BF4-A9D4-FDDE2F9ED4AE}"/>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41288649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ex_01">
    <p:spTree>
      <p:nvGrpSpPr>
        <p:cNvPr id="1" name=""/>
        <p:cNvGrpSpPr/>
        <p:nvPr/>
      </p:nvGrpSpPr>
      <p:grpSpPr>
        <a:xfrm>
          <a:off x="0" y="0"/>
          <a:ext cx="0" cy="0"/>
          <a:chOff x="0" y="0"/>
          <a:chExt cx="0" cy="0"/>
        </a:xfrm>
      </p:grpSpPr>
      <p:pic>
        <p:nvPicPr>
          <p:cNvPr id="3" name="Imagen 2" descr="Persona en bicicleta en la calle&#10;&#10;Descripción generada automáticamente">
            <a:extLst>
              <a:ext uri="{FF2B5EF4-FFF2-40B4-BE49-F238E27FC236}">
                <a16:creationId xmlns:a16="http://schemas.microsoft.com/office/drawing/2014/main" id="{DFBCE102-0B1D-4047-A4E7-B62B88CB809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4" name="Conector recto 3">
            <a:extLst>
              <a:ext uri="{FF2B5EF4-FFF2-40B4-BE49-F238E27FC236}">
                <a16:creationId xmlns:a16="http://schemas.microsoft.com/office/drawing/2014/main" id="{911076D1-219C-4FC1-8D80-8F1F629A9690}"/>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Conector recto 4">
            <a:extLst>
              <a:ext uri="{FF2B5EF4-FFF2-40B4-BE49-F238E27FC236}">
                <a16:creationId xmlns:a16="http://schemas.microsoft.com/office/drawing/2014/main" id="{ED64DCC0-A7B7-4FE9-B365-612F9ECAB20E}"/>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011952"/>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dex_03">
    <p:spTree>
      <p:nvGrpSpPr>
        <p:cNvPr id="1" name=""/>
        <p:cNvGrpSpPr/>
        <p:nvPr/>
      </p:nvGrpSpPr>
      <p:grpSpPr>
        <a:xfrm>
          <a:off x="0" y="0"/>
          <a:ext cx="0" cy="0"/>
          <a:chOff x="0" y="0"/>
          <a:chExt cx="0" cy="0"/>
        </a:xfrm>
      </p:grpSpPr>
      <p:pic>
        <p:nvPicPr>
          <p:cNvPr id="3" name="Imagen 2" descr="Imagen que contiene verde, alfombra&#10;&#10;Descripción generada automáticamente">
            <a:extLst>
              <a:ext uri="{FF2B5EF4-FFF2-40B4-BE49-F238E27FC236}">
                <a16:creationId xmlns:a16="http://schemas.microsoft.com/office/drawing/2014/main" id="{7C2D42DF-40DF-4E77-911C-4D86E599CE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70" y="873125"/>
            <a:ext cx="6226630" cy="5984875"/>
          </a:xfrm>
          <a:prstGeom prst="rect">
            <a:avLst/>
          </a:prstGeom>
        </p:spPr>
      </p:pic>
      <p:cxnSp>
        <p:nvCxnSpPr>
          <p:cNvPr id="4" name="Conector recto 3">
            <a:extLst>
              <a:ext uri="{FF2B5EF4-FFF2-40B4-BE49-F238E27FC236}">
                <a16:creationId xmlns:a16="http://schemas.microsoft.com/office/drawing/2014/main" id="{46E030D6-43DE-460E-851D-BE19C1324EF9}"/>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DB9FE630-C55B-455F-ADB3-F0E349F8428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921715"/>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image" Target="../media/image2.sv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6F6F6"/>
        </a:solidFill>
        <a:effectLst/>
      </p:bgPr>
    </p:bg>
    <p:spTree>
      <p:nvGrpSpPr>
        <p:cNvPr id="1" name=""/>
        <p:cNvGrpSpPr/>
        <p:nvPr/>
      </p:nvGrpSpPr>
      <p:grpSpPr>
        <a:xfrm>
          <a:off x="0" y="0"/>
          <a:ext cx="0" cy="0"/>
          <a:chOff x="0" y="0"/>
          <a:chExt cx="0" cy="0"/>
        </a:xfrm>
      </p:grpSpPr>
      <p:pic>
        <p:nvPicPr>
          <p:cNvPr id="5" name="Gráfico 4">
            <a:extLst>
              <a:ext uri="{FF2B5EF4-FFF2-40B4-BE49-F238E27FC236}">
                <a16:creationId xmlns:a16="http://schemas.microsoft.com/office/drawing/2014/main" id="{084ED6BD-187A-4FFC-83BA-17554F434F2C}"/>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955702408"/>
      </p:ext>
    </p:extLst>
  </p:cSld>
  <p:clrMap bg1="lt1" tx1="dk1" bg2="lt2" tx2="dk2" accent1="accent1" accent2="accent2" accent3="accent3" accent4="accent4" accent5="accent5" accent6="accent6" hlink="hlink" folHlink="folHlink"/>
  <p:sldLayoutIdLst>
    <p:sldLayoutId id="2147483779" r:id="rId1"/>
    <p:sldLayoutId id="2147483835" r:id="rId2"/>
    <p:sldLayoutId id="2147483837" r:id="rId3"/>
    <p:sldLayoutId id="2147483876" r:id="rId4"/>
    <p:sldLayoutId id="2147483877" r:id="rId5"/>
    <p:sldLayoutId id="2147483879" r:id="rId6"/>
    <p:sldLayoutId id="2147483881" r:id="rId7"/>
    <p:sldLayoutId id="2147483667" r:id="rId8"/>
    <p:sldLayoutId id="2147483846" r:id="rId9"/>
    <p:sldLayoutId id="2147483848" r:id="rId10"/>
    <p:sldLayoutId id="2147483747" r:id="rId11"/>
    <p:sldLayoutId id="2147483864" r:id="rId12"/>
    <p:sldLayoutId id="2147483852" r:id="rId13"/>
    <p:sldLayoutId id="2147483865" r:id="rId14"/>
    <p:sldLayoutId id="2147483853" r:id="rId15"/>
    <p:sldLayoutId id="2147483866" r:id="rId16"/>
    <p:sldLayoutId id="2147483855" r:id="rId17"/>
    <p:sldLayoutId id="2147483868" r:id="rId18"/>
    <p:sldLayoutId id="2147483785" r:id="rId19"/>
    <p:sldLayoutId id="2147483740" r:id="rId20"/>
    <p:sldLayoutId id="2147483789" r:id="rId21"/>
    <p:sldLayoutId id="2147483863" r:id="rId22"/>
    <p:sldLayoutId id="2147483862" r:id="rId23"/>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13" userDrawn="1">
          <p15:clr>
            <a:srgbClr val="F26B43"/>
          </p15:clr>
        </p15:guide>
        <p15:guide id="3" orient="horz" pos="550" userDrawn="1">
          <p15:clr>
            <a:srgbClr val="F26B43"/>
          </p15:clr>
        </p15:guide>
        <p15:guide id="4" orient="horz" pos="3906" userDrawn="1">
          <p15:clr>
            <a:srgbClr val="F26B43"/>
          </p15:clr>
        </p15:guide>
        <p15:guide id="5" orient="horz" pos="278" userDrawn="1">
          <p15:clr>
            <a:srgbClr val="F26B43"/>
          </p15:clr>
        </p15:guide>
        <p15:guide id="6" pos="2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áfico 6">
            <a:extLst>
              <a:ext uri="{FF2B5EF4-FFF2-40B4-BE49-F238E27FC236}">
                <a16:creationId xmlns:a16="http://schemas.microsoft.com/office/drawing/2014/main" id="{4C123C35-58CB-4CF7-8A8B-06A19277FE58}"/>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682351262"/>
      </p:ext>
    </p:extLst>
  </p:cSld>
  <p:clrMap bg1="lt1" tx1="dk1" bg2="lt2" tx2="dk2" accent1="accent1" accent2="accent2" accent3="accent3" accent4="accent4" accent5="accent5" accent6="accent6" hlink="hlink" folHlink="folHlink"/>
  <p:sldLayoutIdLst>
    <p:sldLayoutId id="2147483737" r:id="rId1"/>
    <p:sldLayoutId id="2147483769" r:id="rId2"/>
    <p:sldLayoutId id="2147483771" r:id="rId3"/>
    <p:sldLayoutId id="2147483829" r:id="rId4"/>
    <p:sldLayoutId id="2147483772" r:id="rId5"/>
    <p:sldLayoutId id="2147483832" r:id="rId6"/>
    <p:sldLayoutId id="2147483773" r:id="rId7"/>
    <p:sldLayoutId id="2147483831" r:id="rId8"/>
    <p:sldLayoutId id="2147483774" r:id="rId9"/>
    <p:sldLayoutId id="2147483833" r:id="rId10"/>
    <p:sldLayoutId id="2147483775" r:id="rId11"/>
    <p:sldLayoutId id="2147483830" r:id="rId12"/>
    <p:sldLayoutId id="2147483794" r:id="rId13"/>
    <p:sldLayoutId id="2147483735" r:id="rId14"/>
    <p:sldLayoutId id="2147483741" r:id="rId15"/>
    <p:sldLayoutId id="2147483757" r:id="rId16"/>
    <p:sldLayoutId id="2147483758" r:id="rId17"/>
    <p:sldLayoutId id="2147483793" r:id="rId18"/>
    <p:sldLayoutId id="2147483796" r:id="rId19"/>
    <p:sldLayoutId id="2147483795" r:id="rId20"/>
    <p:sldLayoutId id="2147483797" r:id="rId21"/>
    <p:sldLayoutId id="2147483798" r:id="rId22"/>
    <p:sldLayoutId id="2147483736" r:id="rId23"/>
    <p:sldLayoutId id="2147483770" r:id="rId24"/>
    <p:sldLayoutId id="2147483738" r:id="rId25"/>
    <p:sldLayoutId id="2147483765" r:id="rId26"/>
    <p:sldLayoutId id="2147483826" r:id="rId27"/>
    <p:sldLayoutId id="2147483827" r:id="rId28"/>
    <p:sldLayoutId id="2147483882" r:id="rId29"/>
    <p:sldLayoutId id="2147483883" r:id="rId30"/>
    <p:sldLayoutId id="2147483884" r:id="rId3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userDrawn="1">
          <p15:clr>
            <a:srgbClr val="F26B43"/>
          </p15:clr>
        </p15:guide>
        <p15:guide id="2" pos="3024" userDrawn="1">
          <p15:clr>
            <a:srgbClr val="F26B43"/>
          </p15:clr>
        </p15:guide>
        <p15:guide id="4" orient="horz" pos="3929" userDrawn="1">
          <p15:clr>
            <a:srgbClr val="F26B43"/>
          </p15:clr>
        </p15:guide>
        <p15:guide id="5" orient="horz" pos="232" userDrawn="1">
          <p15:clr>
            <a:srgbClr val="F26B43"/>
          </p15:clr>
        </p15:guide>
        <p15:guide id="6" orient="horz" pos="504" userDrawn="1">
          <p15:clr>
            <a:srgbClr val="F26B43"/>
          </p15:clr>
        </p15:guide>
        <p15:guide id="7" pos="3386" userDrawn="1">
          <p15:clr>
            <a:srgbClr val="F26B43"/>
          </p15:clr>
        </p15:guide>
        <p15:guide id="8" pos="279" userDrawn="1">
          <p15:clr>
            <a:srgbClr val="F26B43"/>
          </p15:clr>
        </p15:guide>
        <p15:guide id="9"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2.xml"/><Relationship Id="rId1" Type="http://schemas.openxmlformats.org/officeDocument/2006/relationships/tags" Target="../tags/tag2.xml"/><Relationship Id="rId4" Type="http://schemas.openxmlformats.org/officeDocument/2006/relationships/image" Target="../media/image23.emf"/></Relationships>
</file>

<file path=ppt/slides/_rels/slide10.xml.rels><?xml version="1.0" encoding="UTF-8" standalone="yes"?>
<Relationships xmlns="http://schemas.openxmlformats.org/package/2006/relationships"><Relationship Id="rId3" Type="http://schemas.openxmlformats.org/officeDocument/2006/relationships/hyperlink" Target="https://arxiv.org/abs/2508.15734?utm_campaign=The%20Batch&amp;utm_medium=email&amp;_hsenc=p2ANqtz--4dcUmchsWYDiQx8-_SSom2gIVcbrARS9rKmi_PIqcKMSFsbDt_-G3wRdb-9yF34KrrD9R12vJ-vjyuVt5FvmS2IX2HNv8r1Y_7e-EZ4Ek29jmURE&amp;_hsmi=378898547&amp;utm_content=378896101&amp;utm_source=hs_email" TargetMode="Externa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31.png"/><Relationship Id="rId5" Type="http://schemas.openxmlformats.org/officeDocument/2006/relationships/hyperlink" Target="https://www.theverge.com/report/763080/google-ai-gemini-water-energy-emissions-study?utm_campaign=The%20Batch&amp;utm_medium=email&amp;_hsenc=p2ANqtz-99V9AVGWt-XChGPbrI5UiSqzijNNtbG779FJwFGQH0juWPfoCOTrj_KsYSLVpmveSoiw9sNsqnXHrbeF9VuLhkg2hF-pm0cY_DpUsOT1LFyocaFVk&amp;_hsmi=378898547&amp;utm_content=378896101&amp;utm_source=hs_email" TargetMode="External"/><Relationship Id="rId4" Type="http://schemas.openxmlformats.org/officeDocument/2006/relationships/hyperlink" Target="https://arxiv.org/abs/2502.01671?utm_campaign=The%20Batch&amp;utm_medium=email&amp;_hsenc=p2ANqtz-8CCQU3epvG37B9x4XmBaQYdHtR2lsNSCn24i3-xyaIJ02MLHk9XXE91KTvg9ii_rKtXvlF96-I-LDPSRNpTtsyj0YbY6OMyF8_b93RM6pY2P9jqNQ&amp;_hsmi=378898547&amp;utm_content=378896101&amp;utm_source=hs_emai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mlq.ai/media/quarterly_decks/v0.1_State_of_AI_in_Business_2025_Report.pdf?utm_source=substack&amp;utm_medium=email"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hyperlink" Target="https://openai.com/index/openai-anthropic-safety-evaluation/?utm_campaign=Data%20Points&amp;utm_medium=email&amp;_hsenc=p2ANqtz-_blSOQli0WyMa-ZnXclHLP_-YrxFM6vroHgRIAzwNaxsqHihaxepHNFHSEeVnj940BeVON1Pd0wAkO3GWQnNQaRaE1ghiJut81gY86vDd6xgpnDOc&amp;_hsmi=378514166&amp;utm_content=378514166&amp;utm_source=hs_email"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hyperlink" Target="https://www.cryptopolitan.com/deepseek-takes-on-openai-with-new-features/"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hyperlink" Target="https://www.wired.com/story/latam-gpt-the-free-open-source-and-collaborative-ai-of-latin-america/?utm_campaign=Data%20Points&amp;utm_medium=email&amp;_hsenc=p2ANqtz--E2K6qoenYPAhDT5dnsVyVZlPljNJaYZraO80X1zNbSDToBeFZLTZcBEg2-Dmm-BaFPQtZCzbeyuqS4IMiuL30gLBl8j1flg_9gJscvE0cc4khPDI&amp;_hsmi=378514166&amp;utm_content=378514166&amp;utm_source=hs_email"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s.googleblog.com/es/introducing-langextract-a-gemini-powered-information-extraction-library/" TargetMode="External"/><Relationship Id="rId2" Type="http://schemas.openxmlformats.org/officeDocument/2006/relationships/notesSlide" Target="../notesSlides/notesSlide13.xml"/><Relationship Id="rId1" Type="http://schemas.openxmlformats.org/officeDocument/2006/relationships/slideLayout" Target="../slideLayouts/slideLayout29.xml"/><Relationship Id="rId5" Type="http://schemas.openxmlformats.org/officeDocument/2006/relationships/image" Target="../media/image36.png"/><Relationship Id="rId4" Type="http://schemas.openxmlformats.org/officeDocument/2006/relationships/hyperlink" Target="https://github.com/google/langextract"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hyperlink" Target="https://openai.com/index/why-language-models-hallucinate/" TargetMode="External"/><Relationship Id="rId2" Type="http://schemas.openxmlformats.org/officeDocument/2006/relationships/notesSlide" Target="../notesSlides/notesSlide19.xml"/><Relationship Id="rId1" Type="http://schemas.openxmlformats.org/officeDocument/2006/relationships/slideLayout" Target="../slideLayouts/slideLayout29.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hyperlink" Target="https://telechargement.afnor.info/standardization-afnor-spec-ai-frugal?utm_campaign=The%20Batch&amp;utm_medium=email&amp;_hsenc=p2ANqtz-8Z8ZjUyDd40xEQYqW04GlRMald-aKana-VXjoN7v4guyCw8U6SR2KfHudzHyFIwy2ys5mjiKZUFKAIdMI-9HULes9ZY0_SgaSRl0B0nsiUxTyVy60&amp;_hsmi=377860269&amp;utm_content=377846619&amp;utm_source=hs_email" TargetMode="External"/><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DD5914-BCDC-CF29-39B4-D03CEA154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63DD5914-BCDC-CF29-39B4-D03CEA15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6"/>
          <p:cNvSpPr txBox="1"/>
          <p:nvPr/>
        </p:nvSpPr>
        <p:spPr>
          <a:xfrm>
            <a:off x="767875" y="5643884"/>
            <a:ext cx="3253104" cy="409086"/>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8800"/>
              </a:lnSpc>
              <a:spcBef>
                <a:spcPts val="95"/>
              </a:spcBef>
              <a:spcAft>
                <a:spcPts val="0"/>
              </a:spcAft>
              <a:buClrTx/>
              <a:buSzTx/>
              <a:buFontTx/>
              <a:buNone/>
              <a:tabLst/>
              <a:defRPr/>
            </a:pPr>
            <a:r>
              <a:rPr kumimoji="0" lang="en-US" sz="2500" b="0" i="0" u="none" strike="noStrike" kern="0" cap="none" spc="0" normalizeH="0" baseline="0" noProof="0" dirty="0">
                <a:ln>
                  <a:noFill/>
                </a:ln>
                <a:solidFill>
                  <a:srgbClr val="FFFFFF"/>
                </a:solidFill>
                <a:effectLst/>
                <a:uLnTx/>
                <a:uFillTx/>
                <a:latin typeface="Santander Headline"/>
                <a:ea typeface="+mn-ea"/>
                <a:cs typeface="Santander Headline"/>
              </a:rPr>
              <a:t>8 September 2025</a:t>
            </a:r>
            <a:endParaRPr kumimoji="0" lang="en-US" sz="2500" b="0" i="0" u="none" strike="noStrike" kern="0" cap="none" spc="0" normalizeH="0" baseline="0" noProof="0" dirty="0">
              <a:ln>
                <a:noFill/>
              </a:ln>
              <a:solidFill>
                <a:sysClr val="windowText" lastClr="000000"/>
              </a:solidFill>
              <a:effectLst/>
              <a:uLnTx/>
              <a:uFillTx/>
              <a:latin typeface="Santander Headline"/>
              <a:ea typeface="+mn-ea"/>
              <a:cs typeface="Santander Headline"/>
            </a:endParaRPr>
          </a:p>
        </p:txBody>
      </p:sp>
      <p:sp>
        <p:nvSpPr>
          <p:cNvPr id="11" name="object 3">
            <a:extLst>
              <a:ext uri="{FF2B5EF4-FFF2-40B4-BE49-F238E27FC236}">
                <a16:creationId xmlns:a16="http://schemas.microsoft.com/office/drawing/2014/main" id="{D2ABA22D-F23D-20AB-0DA8-B06D42BD659D}"/>
              </a:ext>
            </a:extLst>
          </p:cNvPr>
          <p:cNvSpPr txBox="1">
            <a:spLocks noGrp="1"/>
          </p:cNvSpPr>
          <p:nvPr>
            <p:ph type="body" idx="4294967295"/>
          </p:nvPr>
        </p:nvSpPr>
        <p:spPr>
          <a:xfrm>
            <a:off x="735145" y="1534596"/>
            <a:ext cx="8687529" cy="1762214"/>
          </a:xfrm>
          <a:prstGeom prst="rect">
            <a:avLst/>
          </a:prstGeom>
        </p:spPr>
        <p:txBody>
          <a:bodyPr vert="horz" wrap="square" lIns="0" tIns="168275" rIns="0" bIns="0" rtlCol="0">
            <a:spAutoFit/>
          </a:bodyPr>
          <a:lstStyle/>
          <a:p>
            <a:pPr marL="0" marR="5080" indent="0">
              <a:lnSpc>
                <a:spcPts val="6000"/>
              </a:lnSpc>
              <a:spcBef>
                <a:spcPts val="1325"/>
              </a:spcBef>
              <a:buNone/>
            </a:pPr>
            <a:r>
              <a:rPr lang="en-US" sz="6000" dirty="0">
                <a:solidFill>
                  <a:schemeClr val="bg1"/>
                </a:solidFill>
                <a:latin typeface="Santander Text Light" panose="020B0304020201020104" pitchFamily="34" charset="0"/>
                <a:cs typeface="Santander Headline Light"/>
              </a:rPr>
              <a:t>Investments AI Circle</a:t>
            </a:r>
            <a:endParaRPr lang="en-US" sz="4000" dirty="0">
              <a:solidFill>
                <a:schemeClr val="bg1"/>
              </a:solidFill>
              <a:latin typeface="Santander Text Light" panose="020B0304020201020104" pitchFamily="34" charset="0"/>
              <a:cs typeface="Santander Headline Light"/>
            </a:endParaRPr>
          </a:p>
          <a:p>
            <a:pPr marL="0" marR="5080" indent="0">
              <a:lnSpc>
                <a:spcPts val="6000"/>
              </a:lnSpc>
              <a:spcBef>
                <a:spcPts val="1325"/>
              </a:spcBef>
              <a:buNone/>
            </a:pPr>
            <a:r>
              <a:rPr lang="en-US" sz="2400" b="1" dirty="0">
                <a:solidFill>
                  <a:schemeClr val="bg1"/>
                </a:solidFill>
                <a:latin typeface="Santander Text" panose="020B0504020201020104" pitchFamily="34" charset="0"/>
                <a:cs typeface="Santander Headline Light"/>
              </a:rPr>
              <a:t>FOLLOW-UP</a:t>
            </a:r>
            <a:endParaRPr lang="en-US" sz="4000" b="1" dirty="0">
              <a:solidFill>
                <a:schemeClr val="bg1"/>
              </a:solidFill>
              <a:latin typeface="Santander Text" panose="020B0504020201020104" pitchFamily="34" charset="0"/>
              <a:cs typeface="Santander Headline Ligh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D7587-9249-65BA-3591-E685C83DB19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8035EEC-9AC8-B71D-AB5F-8B13BF6A5FF3}"/>
              </a:ext>
            </a:extLst>
          </p:cNvPr>
          <p:cNvSpPr>
            <a:spLocks noGrp="1"/>
          </p:cNvSpPr>
          <p:nvPr>
            <p:ph type="ctrTitle"/>
          </p:nvPr>
        </p:nvSpPr>
        <p:spPr>
          <a:xfrm>
            <a:off x="439259" y="939173"/>
            <a:ext cx="11309829" cy="740981"/>
          </a:xfrm>
        </p:spPr>
        <p:txBody>
          <a:bodyPr/>
          <a:lstStyle/>
          <a:p>
            <a:pPr algn="just"/>
            <a:r>
              <a:rPr lang="en-US" dirty="0"/>
              <a:t>2.2) Gemini and the Carbon Cost of AI: A Greener Outlook from Google</a:t>
            </a:r>
          </a:p>
        </p:txBody>
      </p:sp>
      <p:sp>
        <p:nvSpPr>
          <p:cNvPr id="6" name="Marcador de texto 4">
            <a:extLst>
              <a:ext uri="{FF2B5EF4-FFF2-40B4-BE49-F238E27FC236}">
                <a16:creationId xmlns:a16="http://schemas.microsoft.com/office/drawing/2014/main" id="{7F3A3E6B-049F-605D-9A22-A38D364AFB3E}"/>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Google published a rare, in-depth analysis of the environmental impact of its Gemini models—revealing lower-than-expected resource usage for everyday AI task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Measured footprint:</a:t>
            </a:r>
            <a:r>
              <a:rPr lang="en-US" sz="1800" dirty="0">
                <a:latin typeface="+mn-lt"/>
              </a:rPr>
              <a:t> A median Gemini prompt consumes just 0.24 watt-hours, 0.26 ml of water, and 0.03g of CO₂—comparable to loading a web page or running a TV for 9 seconds.</a:t>
            </a:r>
          </a:p>
          <a:p>
            <a:pPr marL="285750" indent="-285750" algn="just">
              <a:buClr>
                <a:srgbClr val="C00000"/>
              </a:buClr>
              <a:buFont typeface="Wingdings" panose="05000000000000000000" pitchFamily="2" charset="2"/>
              <a:buChar char="§"/>
            </a:pPr>
            <a:r>
              <a:rPr lang="en-US" sz="1800" b="1" dirty="0">
                <a:latin typeface="+mn-lt"/>
              </a:rPr>
              <a:t>Efficiency gains: </a:t>
            </a:r>
            <a:r>
              <a:rPr lang="en-US" sz="1800" dirty="0">
                <a:latin typeface="+mn-lt"/>
              </a:rPr>
              <a:t>Between May 2024 and May 2025, Gemini's energy usage dropped 33x and emissions fell 44x, driven by cleaner energy sourcing and more efficient chips and models.</a:t>
            </a:r>
          </a:p>
        </p:txBody>
      </p:sp>
      <p:sp>
        <p:nvSpPr>
          <p:cNvPr id="4" name="CuadroTexto 3">
            <a:extLst>
              <a:ext uri="{FF2B5EF4-FFF2-40B4-BE49-F238E27FC236}">
                <a16:creationId xmlns:a16="http://schemas.microsoft.com/office/drawing/2014/main" id="{8D235F53-2B5B-5D30-E390-E1F1E98DDD46}"/>
              </a:ext>
            </a:extLst>
          </p:cNvPr>
          <p:cNvSpPr txBox="1"/>
          <p:nvPr/>
        </p:nvSpPr>
        <p:spPr>
          <a:xfrm>
            <a:off x="439259" y="5074652"/>
            <a:ext cx="6070398" cy="1477328"/>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The lack of standard metrics has made AI’s environmental cost hard to assess. Google’s transparency is a step forward, but comparisons remain tricky due to differing scopes. Industry-wide standards will be key to meaningful climate accountability in AI.</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2C7BA4D6-FEDC-25EB-0371-FF4CD00D153F}"/>
              </a:ext>
            </a:extLst>
          </p:cNvPr>
          <p:cNvSpPr txBox="1"/>
          <p:nvPr/>
        </p:nvSpPr>
        <p:spPr>
          <a:xfrm>
            <a:off x="6670808" y="4776363"/>
            <a:ext cx="5400040" cy="2262158"/>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spcAft>
                <a:spcPts val="600"/>
              </a:spcAft>
              <a:buClr>
                <a:srgbClr val="005471"/>
              </a:buClr>
              <a:buFont typeface="Wingdings" panose="05000000000000000000" pitchFamily="2" charset="2"/>
              <a:buChar char="Ø"/>
            </a:pPr>
            <a:r>
              <a:rPr lang="en-US" sz="1400" dirty="0">
                <a:hlinkClick r:id="rId3"/>
              </a:rPr>
              <a:t>Measuring the environmental impact of delivering AI at Google Scale</a:t>
            </a:r>
            <a:endParaRPr lang="en-US" sz="1400" dirty="0"/>
          </a:p>
          <a:p>
            <a:pPr marL="285750" indent="-285750">
              <a:spcAft>
                <a:spcPts val="600"/>
              </a:spcAft>
              <a:buClr>
                <a:srgbClr val="005471"/>
              </a:buClr>
              <a:buFont typeface="Wingdings" panose="05000000000000000000" pitchFamily="2" charset="2"/>
              <a:buChar char="Ø"/>
            </a:pPr>
            <a:r>
              <a:rPr lang="en-US" sz="1400" dirty="0">
                <a:hlinkClick r:id="rId4"/>
              </a:rPr>
              <a:t>Life-Cycle Emissions of AI Hardware: A Cradle-To-Grave Approach and Generational Trends</a:t>
            </a:r>
            <a:endParaRPr lang="en-US" sz="1400" dirty="0"/>
          </a:p>
          <a:p>
            <a:pPr marL="285750" indent="-285750">
              <a:spcAft>
                <a:spcPts val="600"/>
              </a:spcAft>
              <a:buClr>
                <a:srgbClr val="005471"/>
              </a:buClr>
              <a:buFont typeface="Wingdings" panose="05000000000000000000" pitchFamily="2" charset="2"/>
              <a:buChar char="Ø"/>
            </a:pPr>
            <a:r>
              <a:rPr lang="en-US" sz="1400" dirty="0">
                <a:hlinkClick r:id="rId5"/>
              </a:rPr>
              <a:t>Google says a typical AI text prompt only uses 5 drops of water — experts say that’s misleading</a:t>
            </a:r>
            <a:endParaRPr lang="es-ES" sz="1400" dirty="0"/>
          </a:p>
          <a:p>
            <a:pPr marL="285750" indent="-285750">
              <a:buFont typeface="Wingdings" panose="05000000000000000000" pitchFamily="2" charset="2"/>
              <a:buChar char="Ø"/>
            </a:pPr>
            <a:endParaRPr lang="es-ES" sz="1400" dirty="0"/>
          </a:p>
        </p:txBody>
      </p:sp>
      <p:pic>
        <p:nvPicPr>
          <p:cNvPr id="3" name="Imagen 2" descr="Google study chart comparing energy use of AI accelerators for Gemini, including chip power, CPU, and idle machines.">
            <a:extLst>
              <a:ext uri="{FF2B5EF4-FFF2-40B4-BE49-F238E27FC236}">
                <a16:creationId xmlns:a16="http://schemas.microsoft.com/office/drawing/2014/main" id="{8E4F6CCA-E31A-26E1-341E-52B553BE5D1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70808" y="1680154"/>
            <a:ext cx="5400040" cy="3042285"/>
          </a:xfrm>
          <a:prstGeom prst="rect">
            <a:avLst/>
          </a:prstGeom>
          <a:noFill/>
          <a:ln>
            <a:noFill/>
          </a:ln>
        </p:spPr>
      </p:pic>
    </p:spTree>
    <p:extLst>
      <p:ext uri="{BB962C8B-B14F-4D97-AF65-F5344CB8AC3E}">
        <p14:creationId xmlns:p14="http://schemas.microsoft.com/office/powerpoint/2010/main" val="2604043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9ADE1-B3D7-1349-0369-9D7CB7EAB6F5}"/>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D2F6C1D-FEDC-702C-5020-F94D872F3968}"/>
              </a:ext>
            </a:extLst>
          </p:cNvPr>
          <p:cNvSpPr>
            <a:spLocks noGrp="1"/>
          </p:cNvSpPr>
          <p:nvPr>
            <p:ph type="ctrTitle"/>
          </p:nvPr>
        </p:nvSpPr>
        <p:spPr>
          <a:xfrm>
            <a:off x="439259" y="939173"/>
            <a:ext cx="11309829" cy="740981"/>
          </a:xfrm>
        </p:spPr>
        <p:txBody>
          <a:bodyPr/>
          <a:lstStyle/>
          <a:p>
            <a:pPr algn="just"/>
            <a:r>
              <a:rPr lang="en-US" dirty="0"/>
              <a:t>2.3) MIT: 95% of Generative AI Projects Fail to Deliver Value</a:t>
            </a:r>
          </a:p>
        </p:txBody>
      </p:sp>
      <p:sp>
        <p:nvSpPr>
          <p:cNvPr id="6" name="Marcador de texto 4">
            <a:extLst>
              <a:ext uri="{FF2B5EF4-FFF2-40B4-BE49-F238E27FC236}">
                <a16:creationId xmlns:a16="http://schemas.microsoft.com/office/drawing/2014/main" id="{646AC361-A9CD-B09B-FD22-3A537C56C047}"/>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MIT’s State of AI in Business 2025 report reveals that </a:t>
            </a:r>
            <a:r>
              <a:rPr lang="en-US" sz="1800" b="1" dirty="0">
                <a:latin typeface="+mn-lt"/>
              </a:rPr>
              <a:t>95% of enterprise GenAI initiatives fail to produce measurable financial returns</a:t>
            </a:r>
            <a:r>
              <a:rPr lang="en-US" sz="1800" dirty="0">
                <a:latin typeface="+mn-lt"/>
              </a:rPr>
              <a:t>, despite heavy corporate investment.</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Root causes of failure</a:t>
            </a:r>
            <a:r>
              <a:rPr lang="en-US" sz="1800" dirty="0">
                <a:latin typeface="+mn-lt"/>
              </a:rPr>
              <a:t>: According to MIT, most projects collapse due to a learning </a:t>
            </a:r>
            <a:r>
              <a:rPr lang="en-US" sz="1800" b="1" dirty="0">
                <a:latin typeface="+mn-lt"/>
              </a:rPr>
              <a:t>gap between AI tools and business workflows, poor resource allocation, and a focus on “shiny” but low-ROI use cases like marketing rather than high-impact back-office automation.</a:t>
            </a:r>
          </a:p>
          <a:p>
            <a:pPr marL="285750" indent="-285750" algn="just">
              <a:buClr>
                <a:srgbClr val="C00000"/>
              </a:buClr>
              <a:buFont typeface="Wingdings" panose="05000000000000000000" pitchFamily="2" charset="2"/>
              <a:buChar char="§"/>
            </a:pPr>
            <a:r>
              <a:rPr lang="en-US" sz="1800" b="1" dirty="0">
                <a:latin typeface="+mn-lt"/>
              </a:rPr>
              <a:t>Scale of underperformance</a:t>
            </a:r>
            <a:r>
              <a:rPr lang="en-US" sz="1800" dirty="0">
                <a:latin typeface="+mn-lt"/>
              </a:rPr>
              <a:t>: Only 5% of pilots progress to production and deliver real business value, with the vast majority stuck in experimental mode or misaligned with P&amp;L metrics.</a:t>
            </a:r>
          </a:p>
        </p:txBody>
      </p:sp>
      <p:sp>
        <p:nvSpPr>
          <p:cNvPr id="4" name="CuadroTexto 3">
            <a:extLst>
              <a:ext uri="{FF2B5EF4-FFF2-40B4-BE49-F238E27FC236}">
                <a16:creationId xmlns:a16="http://schemas.microsoft.com/office/drawing/2014/main" id="{D808C393-A724-2032-9DE8-0B1B1BCFE463}"/>
              </a:ext>
            </a:extLst>
          </p:cNvPr>
          <p:cNvSpPr txBox="1"/>
          <p:nvPr/>
        </p:nvSpPr>
        <p:spPr>
          <a:xfrm>
            <a:off x="439259" y="5489323"/>
            <a:ext cx="6070398"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MIT’s findings underscore that success with AI is less about technology and more about organizational readiness, workflow integration, and disciplined governance.</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F411F693-FDAB-4FEE-A7CF-AF434D3FE9C7}"/>
              </a:ext>
            </a:extLst>
          </p:cNvPr>
          <p:cNvSpPr txBox="1"/>
          <p:nvPr/>
        </p:nvSpPr>
        <p:spPr>
          <a:xfrm>
            <a:off x="6892216" y="5334051"/>
            <a:ext cx="4641783" cy="738664"/>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Font typeface="Wingdings" panose="05000000000000000000" pitchFamily="2" charset="2"/>
              <a:buChar char="Ø"/>
            </a:pPr>
            <a:r>
              <a:rPr lang="en-US" sz="1400" dirty="0">
                <a:hlinkClick r:id="rId3"/>
              </a:rPr>
              <a:t>MIT: State of AI in Business 2025 Report</a:t>
            </a:r>
            <a:endParaRPr lang="es-ES" sz="1400" dirty="0"/>
          </a:p>
        </p:txBody>
      </p:sp>
      <p:pic>
        <p:nvPicPr>
          <p:cNvPr id="8" name="Imagen 7">
            <a:extLst>
              <a:ext uri="{FF2B5EF4-FFF2-40B4-BE49-F238E27FC236}">
                <a16:creationId xmlns:a16="http://schemas.microsoft.com/office/drawing/2014/main" id="{ECD6F093-A024-8310-ED6A-CECED6DC3F2A}"/>
              </a:ext>
            </a:extLst>
          </p:cNvPr>
          <p:cNvPicPr>
            <a:picLocks noChangeAspect="1"/>
          </p:cNvPicPr>
          <p:nvPr/>
        </p:nvPicPr>
        <p:blipFill>
          <a:blip r:embed="rId4"/>
          <a:stretch>
            <a:fillRect/>
          </a:stretch>
        </p:blipFill>
        <p:spPr>
          <a:xfrm>
            <a:off x="6892216" y="2380241"/>
            <a:ext cx="4943524" cy="2097517"/>
          </a:xfrm>
          <a:prstGeom prst="rect">
            <a:avLst/>
          </a:prstGeom>
        </p:spPr>
      </p:pic>
    </p:spTree>
    <p:extLst>
      <p:ext uri="{BB962C8B-B14F-4D97-AF65-F5344CB8AC3E}">
        <p14:creationId xmlns:p14="http://schemas.microsoft.com/office/powerpoint/2010/main" val="2221249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C994A-27E3-A86E-CE9E-C2881A2C6FD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2748080-A24C-C8C7-404B-5CE92FB764D3}"/>
              </a:ext>
            </a:extLst>
          </p:cNvPr>
          <p:cNvSpPr>
            <a:spLocks noGrp="1"/>
          </p:cNvSpPr>
          <p:nvPr>
            <p:ph type="ctrTitle"/>
          </p:nvPr>
        </p:nvSpPr>
        <p:spPr>
          <a:xfrm>
            <a:off x="439259" y="939173"/>
            <a:ext cx="11309829" cy="740981"/>
          </a:xfrm>
        </p:spPr>
        <p:txBody>
          <a:bodyPr/>
          <a:lstStyle/>
          <a:p>
            <a:pPr algn="just"/>
            <a:r>
              <a:rPr lang="en-US" dirty="0"/>
              <a:t>2.4) OpenAI &amp; Anthropic: Cross-Lab Safety Testing for Industry Standards</a:t>
            </a:r>
          </a:p>
        </p:txBody>
      </p:sp>
      <p:sp>
        <p:nvSpPr>
          <p:cNvPr id="6" name="Marcador de texto 4">
            <a:extLst>
              <a:ext uri="{FF2B5EF4-FFF2-40B4-BE49-F238E27FC236}">
                <a16:creationId xmlns:a16="http://schemas.microsoft.com/office/drawing/2014/main" id="{FF637865-3E85-3203-374B-2C19432A6B73}"/>
              </a:ext>
            </a:extLst>
          </p:cNvPr>
          <p:cNvSpPr txBox="1">
            <a:spLocks/>
          </p:cNvSpPr>
          <p:nvPr/>
        </p:nvSpPr>
        <p:spPr>
          <a:xfrm>
            <a:off x="439260" y="1647124"/>
            <a:ext cx="6452956"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For the first time, two leading AI labs shared results from testing each other’s models against adversarial safety benchmarks—an effort to increase accountability and transparency in AI development.</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Test scope</a:t>
            </a:r>
            <a:r>
              <a:rPr lang="en-US" sz="1800" dirty="0">
                <a:latin typeface="+mn-lt"/>
              </a:rPr>
              <a:t>: Claude Opus 4, Claude Sonnet 4, GPT-4o, GPT-4.1, o3, and o4-mini were evaluated on jailbreaking, hallucinations, instruction hierarchy, and scheming behaviors in adversarial conditions.</a:t>
            </a:r>
          </a:p>
          <a:p>
            <a:pPr marL="285750" indent="-285750" algn="just">
              <a:buClr>
                <a:srgbClr val="C00000"/>
              </a:buClr>
              <a:buFont typeface="Wingdings" panose="05000000000000000000" pitchFamily="2" charset="2"/>
              <a:buChar char="§"/>
            </a:pPr>
            <a:r>
              <a:rPr lang="en-US" sz="1800" b="1" dirty="0">
                <a:latin typeface="+mn-lt"/>
              </a:rPr>
              <a:t>Findings: Claude models excelled </a:t>
            </a:r>
            <a:r>
              <a:rPr lang="en-US" sz="1800" dirty="0">
                <a:latin typeface="+mn-lt"/>
              </a:rPr>
              <a:t>at respecting instruction hierarchy and resisting system prompt extraction, though they refused more factual queries. OpenAI’s reasoning models resisted jailbreaks better and refused less, but showed higher hallucination rates.</a:t>
            </a:r>
          </a:p>
        </p:txBody>
      </p:sp>
      <p:sp>
        <p:nvSpPr>
          <p:cNvPr id="4" name="CuadroTexto 3">
            <a:extLst>
              <a:ext uri="{FF2B5EF4-FFF2-40B4-BE49-F238E27FC236}">
                <a16:creationId xmlns:a16="http://schemas.microsoft.com/office/drawing/2014/main" id="{DE110A49-BF26-C4C7-616A-D4DC80F98B09}"/>
              </a:ext>
            </a:extLst>
          </p:cNvPr>
          <p:cNvSpPr txBox="1"/>
          <p:nvPr/>
        </p:nvSpPr>
        <p:spPr>
          <a:xfrm>
            <a:off x="439260" y="5297775"/>
            <a:ext cx="6787040"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This collaboration sets a precedent for cross-lab accountability, offering a path toward shared safety standards and greater public trust in AI systems. If adopted widely, such evaluations could become a cornerstone of responsible AI governance.</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FCE7AFCD-8BA0-57CC-92DA-5259FF6D04FC}"/>
              </a:ext>
            </a:extLst>
          </p:cNvPr>
          <p:cNvSpPr txBox="1"/>
          <p:nvPr/>
        </p:nvSpPr>
        <p:spPr>
          <a:xfrm>
            <a:off x="7480300" y="5289203"/>
            <a:ext cx="4268788" cy="1384995"/>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3"/>
              </a:rPr>
              <a:t>Findings from a pilot Anthropic–OpenAI alignment evaluation exercise: OpenAI Safety Tests | OpenAI</a:t>
            </a:r>
            <a:endParaRPr lang="en-US" sz="1400" dirty="0"/>
          </a:p>
          <a:p>
            <a:pPr marL="285750" indent="-285750">
              <a:buClr>
                <a:srgbClr val="005471"/>
              </a:buClr>
              <a:buFont typeface="Wingdings" panose="05000000000000000000" pitchFamily="2" charset="2"/>
              <a:buChar char="Ø"/>
            </a:pPr>
            <a:endParaRPr lang="es-ES" sz="1400" dirty="0"/>
          </a:p>
          <a:p>
            <a:pPr marL="285750" indent="-285750">
              <a:buFont typeface="Wingdings" panose="05000000000000000000" pitchFamily="2" charset="2"/>
              <a:buChar char="Ø"/>
            </a:pPr>
            <a:endParaRPr lang="es-ES" sz="1400" dirty="0"/>
          </a:p>
        </p:txBody>
      </p:sp>
      <p:pic>
        <p:nvPicPr>
          <p:cNvPr id="2050" name="Picture 2" descr="Misuse evaluation results">
            <a:extLst>
              <a:ext uri="{FF2B5EF4-FFF2-40B4-BE49-F238E27FC236}">
                <a16:creationId xmlns:a16="http://schemas.microsoft.com/office/drawing/2014/main" id="{8EF8D62B-9B68-FC97-C2E6-94228FA745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6300" y="1809812"/>
            <a:ext cx="4465071" cy="2745780"/>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55E00007-3D94-92AC-2A99-C96BCDC11C03}"/>
              </a:ext>
            </a:extLst>
          </p:cNvPr>
          <p:cNvSpPr txBox="1"/>
          <p:nvPr/>
        </p:nvSpPr>
        <p:spPr>
          <a:xfrm>
            <a:off x="7284017" y="4685250"/>
            <a:ext cx="4465071" cy="369332"/>
          </a:xfrm>
          <a:prstGeom prst="rect">
            <a:avLst/>
          </a:prstGeom>
          <a:noFill/>
        </p:spPr>
        <p:txBody>
          <a:bodyPr wrap="square">
            <a:spAutoFit/>
          </a:bodyPr>
          <a:lstStyle/>
          <a:p>
            <a:pPr algn="ctr"/>
            <a:r>
              <a:rPr lang="en-US" b="1" dirty="0" err="1">
                <a:solidFill>
                  <a:srgbClr val="FF0000"/>
                </a:solidFill>
                <a:latin typeface="Santander Text" panose="020B0504020201020104" pitchFamily="34" charset="0"/>
              </a:rPr>
              <a:t>xAI</a:t>
            </a:r>
            <a:r>
              <a:rPr lang="en-US" b="1" dirty="0">
                <a:solidFill>
                  <a:srgbClr val="FF0000"/>
                </a:solidFill>
                <a:latin typeface="Santander Text" panose="020B0504020201020104" pitchFamily="34" charset="0"/>
              </a:rPr>
              <a:t> does not do this kind of tests with Grok</a:t>
            </a:r>
            <a:endParaRPr lang="es-ES" b="1" dirty="0">
              <a:solidFill>
                <a:srgbClr val="FF0000"/>
              </a:solidFill>
              <a:latin typeface="Santander Text" panose="020B0504020201020104" pitchFamily="34" charset="0"/>
            </a:endParaRPr>
          </a:p>
        </p:txBody>
      </p:sp>
    </p:spTree>
    <p:extLst>
      <p:ext uri="{BB962C8B-B14F-4D97-AF65-F5344CB8AC3E}">
        <p14:creationId xmlns:p14="http://schemas.microsoft.com/office/powerpoint/2010/main" val="2241293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ECB4E-E990-8A26-0F74-DA343267868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6F8EF28-670B-3735-C58B-8676A3D87D0A}"/>
              </a:ext>
            </a:extLst>
          </p:cNvPr>
          <p:cNvSpPr>
            <a:spLocks noGrp="1"/>
          </p:cNvSpPr>
          <p:nvPr>
            <p:ph type="ctrTitle"/>
          </p:nvPr>
        </p:nvSpPr>
        <p:spPr>
          <a:xfrm>
            <a:off x="439259" y="939173"/>
            <a:ext cx="11309829" cy="740981"/>
          </a:xfrm>
        </p:spPr>
        <p:txBody>
          <a:bodyPr/>
          <a:lstStyle/>
          <a:p>
            <a:pPr algn="just"/>
            <a:r>
              <a:rPr lang="en-US" dirty="0"/>
              <a:t>2.5) DeepSeek Prepares AI Agent to Rival OpenAI by Year-End</a:t>
            </a:r>
          </a:p>
        </p:txBody>
      </p:sp>
      <p:sp>
        <p:nvSpPr>
          <p:cNvPr id="6" name="Marcador de texto 4">
            <a:extLst>
              <a:ext uri="{FF2B5EF4-FFF2-40B4-BE49-F238E27FC236}">
                <a16:creationId xmlns:a16="http://schemas.microsoft.com/office/drawing/2014/main" id="{AF532910-AF89-9348-D4E5-3C7AB4BCCCF8}"/>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Chinese startup DeepSeek, which shook the industry with its low-cost R1 reasoning model, is now targeting the release of a more advanced AI agent in the final quarter of this year.</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Technical progress</a:t>
            </a:r>
            <a:r>
              <a:rPr lang="en-US" sz="1800" dirty="0">
                <a:latin typeface="+mn-lt"/>
              </a:rPr>
              <a:t>: The new system is designed to execute multi-step tasks with minimal user input and to learn from prior actions, moving closer to autonomous, self-improving agents.</a:t>
            </a:r>
          </a:p>
          <a:p>
            <a:pPr marL="285750" indent="-285750" algn="just">
              <a:buClr>
                <a:srgbClr val="C00000"/>
              </a:buClr>
              <a:buFont typeface="Wingdings" panose="05000000000000000000" pitchFamily="2" charset="2"/>
              <a:buChar char="§"/>
            </a:pPr>
            <a:r>
              <a:rPr lang="en-US" sz="1800" b="1" dirty="0">
                <a:latin typeface="+mn-lt"/>
              </a:rPr>
              <a:t>Strategic positioning</a:t>
            </a:r>
            <a:r>
              <a:rPr lang="en-US" sz="1800" dirty="0">
                <a:latin typeface="+mn-lt"/>
              </a:rPr>
              <a:t>: Founder Liang </a:t>
            </a:r>
            <a:r>
              <a:rPr lang="en-US" sz="1800" dirty="0" err="1">
                <a:latin typeface="+mn-lt"/>
              </a:rPr>
              <a:t>Wenfeng</a:t>
            </a:r>
            <a:r>
              <a:rPr lang="en-US" sz="1800" dirty="0">
                <a:latin typeface="+mn-lt"/>
              </a:rPr>
              <a:t> is pushing the team to accelerate development as U.S. and Chinese rivals roll out increasingly powerful models.</a:t>
            </a:r>
          </a:p>
        </p:txBody>
      </p:sp>
      <p:sp>
        <p:nvSpPr>
          <p:cNvPr id="4" name="CuadroTexto 3">
            <a:extLst>
              <a:ext uri="{FF2B5EF4-FFF2-40B4-BE49-F238E27FC236}">
                <a16:creationId xmlns:a16="http://schemas.microsoft.com/office/drawing/2014/main" id="{0694FE0D-BE50-4FD4-49DB-AA015AF33AA0}"/>
              </a:ext>
            </a:extLst>
          </p:cNvPr>
          <p:cNvSpPr txBox="1"/>
          <p:nvPr/>
        </p:nvSpPr>
        <p:spPr>
          <a:xfrm>
            <a:off x="439259" y="5070223"/>
            <a:ext cx="6070398" cy="1477328"/>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If successful, DeepSeek could challenge OpenAI on the emerging frontier of autonomous AI agents. Its low-cost innovation strategy underscores the global race to deliver practical, reasoning-capable systems that can act on behalf of users at scale.</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0CD1FB89-B79A-68F5-F382-C74873F11F94}"/>
              </a:ext>
            </a:extLst>
          </p:cNvPr>
          <p:cNvSpPr txBox="1"/>
          <p:nvPr/>
        </p:nvSpPr>
        <p:spPr>
          <a:xfrm>
            <a:off x="6966946" y="5064244"/>
            <a:ext cx="4641783" cy="954107"/>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https://www.cryptopolitan.com/deepseek-takes-on-openai-with-new-features/</a:t>
            </a:r>
            <a:endParaRPr lang="es-ES" sz="1400" dirty="0"/>
          </a:p>
        </p:txBody>
      </p:sp>
      <p:pic>
        <p:nvPicPr>
          <p:cNvPr id="4102" name="Picture 6">
            <a:extLst>
              <a:ext uri="{FF2B5EF4-FFF2-40B4-BE49-F238E27FC236}">
                <a16:creationId xmlns:a16="http://schemas.microsoft.com/office/drawing/2014/main" id="{235CAA7A-E98A-ABAE-B31E-BDEE9F850A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544" y="2813011"/>
            <a:ext cx="4498185" cy="954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2046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CB76B-A682-7915-F78F-CFE11BA453B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B37F899-FA53-4C24-4646-4B6B9E903329}"/>
              </a:ext>
            </a:extLst>
          </p:cNvPr>
          <p:cNvSpPr>
            <a:spLocks noGrp="1"/>
          </p:cNvSpPr>
          <p:nvPr>
            <p:ph type="ctrTitle"/>
          </p:nvPr>
        </p:nvSpPr>
        <p:spPr>
          <a:xfrm>
            <a:off x="439259" y="939173"/>
            <a:ext cx="11309829" cy="740981"/>
          </a:xfrm>
        </p:spPr>
        <p:txBody>
          <a:bodyPr/>
          <a:lstStyle/>
          <a:p>
            <a:pPr algn="just"/>
            <a:r>
              <a:rPr lang="en-US" dirty="0"/>
              <a:t>2.6) Latam-GPT: Latin America’s Open-Source Alternative to ChatGPT</a:t>
            </a:r>
          </a:p>
        </p:txBody>
      </p:sp>
      <p:sp>
        <p:nvSpPr>
          <p:cNvPr id="6" name="Marcador de texto 4">
            <a:extLst>
              <a:ext uri="{FF2B5EF4-FFF2-40B4-BE49-F238E27FC236}">
                <a16:creationId xmlns:a16="http://schemas.microsoft.com/office/drawing/2014/main" id="{1066E964-838A-CADB-44E4-9CC80E76975A}"/>
              </a:ext>
            </a:extLst>
          </p:cNvPr>
          <p:cNvSpPr txBox="1">
            <a:spLocks/>
          </p:cNvSpPr>
          <p:nvPr/>
        </p:nvSpPr>
        <p:spPr>
          <a:xfrm>
            <a:off x="439260" y="1647124"/>
            <a:ext cx="6452956"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The Chilean National Center for Artificial Intelligence (CENIA), in partnership with 33 institutions across Latin America and the Caribbean, launched Latam-GPT, a 50B parameter open-source model trained on 8TB of regional data to reflect local languages and cultural context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Technical progress</a:t>
            </a:r>
            <a:r>
              <a:rPr lang="en-US" sz="1800" dirty="0">
                <a:latin typeface="+mn-lt"/>
              </a:rPr>
              <a:t>: Comparable to GPT-3.5, Latam-GPT is designed to capture regional dialects, history, and cultural nuances that global models often overlook.</a:t>
            </a:r>
          </a:p>
          <a:p>
            <a:pPr marL="285750" indent="-285750" algn="just">
              <a:buClr>
                <a:srgbClr val="C00000"/>
              </a:buClr>
              <a:buFont typeface="Wingdings" panose="05000000000000000000" pitchFamily="2" charset="2"/>
              <a:buChar char="§"/>
            </a:pPr>
            <a:r>
              <a:rPr lang="en-US" sz="1800" b="1" dirty="0">
                <a:latin typeface="+mn-lt"/>
              </a:rPr>
              <a:t>Open access</a:t>
            </a:r>
            <a:r>
              <a:rPr lang="en-US" sz="1800" dirty="0">
                <a:latin typeface="+mn-lt"/>
              </a:rPr>
              <a:t>: The first version, released this year, will be freely available for adaptation in key sectors such as education, healthcare, and agriculture—enabling local researchers to experiment directly with large-scale models.</a:t>
            </a:r>
          </a:p>
        </p:txBody>
      </p:sp>
      <p:sp>
        <p:nvSpPr>
          <p:cNvPr id="4" name="CuadroTexto 3">
            <a:extLst>
              <a:ext uri="{FF2B5EF4-FFF2-40B4-BE49-F238E27FC236}">
                <a16:creationId xmlns:a16="http://schemas.microsoft.com/office/drawing/2014/main" id="{0F66483D-300F-864B-E899-DF51DDBEE45B}"/>
              </a:ext>
            </a:extLst>
          </p:cNvPr>
          <p:cNvSpPr txBox="1"/>
          <p:nvPr/>
        </p:nvSpPr>
        <p:spPr>
          <a:xfrm>
            <a:off x="439258" y="5273423"/>
            <a:ext cx="6452955" cy="1477328"/>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Latam-GPT represents a milestone in democratizing AI, giving Latin America ownership over culturally relevant AI infrastructure. It underscores a global trend toward regional AI sovereignty and sector-specific innovation through open-source approaches.</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2C231F40-ED21-060A-0A17-1851668B7FFA}"/>
              </a:ext>
            </a:extLst>
          </p:cNvPr>
          <p:cNvSpPr txBox="1"/>
          <p:nvPr/>
        </p:nvSpPr>
        <p:spPr>
          <a:xfrm>
            <a:off x="7184316" y="5334051"/>
            <a:ext cx="4641783" cy="1169551"/>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3"/>
              </a:rPr>
              <a:t>Latam-GPT: The Free, Open Source, and Collaborative AI of Latin America | WIRED</a:t>
            </a:r>
            <a:endParaRPr lang="es-ES" sz="1400" dirty="0"/>
          </a:p>
          <a:p>
            <a:pPr marL="285750" indent="-285750">
              <a:buFont typeface="Wingdings" panose="05000000000000000000" pitchFamily="2" charset="2"/>
              <a:buChar char="Ø"/>
            </a:pPr>
            <a:endParaRPr lang="es-ES" sz="1400" dirty="0"/>
          </a:p>
        </p:txBody>
      </p:sp>
      <p:pic>
        <p:nvPicPr>
          <p:cNvPr id="3076" name="Picture 4" descr="CENIA">
            <a:extLst>
              <a:ext uri="{FF2B5EF4-FFF2-40B4-BE49-F238E27FC236}">
                <a16:creationId xmlns:a16="http://schemas.microsoft.com/office/drawing/2014/main" id="{4FE390CD-0B82-235F-FDF5-7639A006FB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9322" y="2880961"/>
            <a:ext cx="3898503" cy="1169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8159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481FB-BFE7-6451-B9CF-16BB69A6085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C77E358-348A-9F53-3812-A646AEA1F61D}"/>
              </a:ext>
            </a:extLst>
          </p:cNvPr>
          <p:cNvSpPr>
            <a:spLocks noGrp="1"/>
          </p:cNvSpPr>
          <p:nvPr>
            <p:ph type="ctrTitle"/>
          </p:nvPr>
        </p:nvSpPr>
        <p:spPr>
          <a:xfrm>
            <a:off x="439259" y="939173"/>
            <a:ext cx="11309829" cy="740981"/>
          </a:xfrm>
        </p:spPr>
        <p:txBody>
          <a:bodyPr/>
          <a:lstStyle/>
          <a:p>
            <a:pPr algn="just"/>
            <a:r>
              <a:rPr lang="en-US" dirty="0"/>
              <a:t>2.7) Google’s </a:t>
            </a:r>
            <a:r>
              <a:rPr lang="en-US" dirty="0" err="1"/>
              <a:t>LangExtract</a:t>
            </a:r>
            <a:r>
              <a:rPr lang="en-US" dirty="0"/>
              <a:t>: Open-Source Library for Structured Data Extraction</a:t>
            </a:r>
          </a:p>
        </p:txBody>
      </p:sp>
      <p:sp>
        <p:nvSpPr>
          <p:cNvPr id="6" name="Marcador de texto 4">
            <a:extLst>
              <a:ext uri="{FF2B5EF4-FFF2-40B4-BE49-F238E27FC236}">
                <a16:creationId xmlns:a16="http://schemas.microsoft.com/office/drawing/2014/main" id="{66E190E4-77CF-AFB1-1833-971AB0B8FED1}"/>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Google released </a:t>
            </a:r>
            <a:r>
              <a:rPr lang="en-US" sz="1800" dirty="0" err="1">
                <a:latin typeface="+mn-lt"/>
              </a:rPr>
              <a:t>LangExtract</a:t>
            </a:r>
            <a:r>
              <a:rPr lang="en-US" sz="1800" dirty="0">
                <a:latin typeface="+mn-lt"/>
              </a:rPr>
              <a:t>, an open-source Python tool designed to extract structured information from unstructured text using large language model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Technical progress</a:t>
            </a:r>
            <a:r>
              <a:rPr lang="en-US" sz="1800" dirty="0">
                <a:latin typeface="+mn-lt"/>
              </a:rPr>
              <a:t>: </a:t>
            </a:r>
            <a:r>
              <a:rPr lang="en-US" sz="1800" dirty="0" err="1">
                <a:latin typeface="+mn-lt"/>
              </a:rPr>
              <a:t>LangExtract</a:t>
            </a:r>
            <a:r>
              <a:rPr lang="en-US" sz="1800" dirty="0">
                <a:latin typeface="+mn-lt"/>
              </a:rPr>
              <a:t> handles long, complex documents (from clinical notes to literature) with text chunking, parallel processing, and multi-pass extraction, while requiring only a few examples to customize tasks.</a:t>
            </a:r>
          </a:p>
          <a:p>
            <a:pPr marL="285750" indent="-285750" algn="just">
              <a:buClr>
                <a:srgbClr val="C00000"/>
              </a:buClr>
              <a:buFont typeface="Wingdings" panose="05000000000000000000" pitchFamily="2" charset="2"/>
              <a:buChar char="§"/>
            </a:pPr>
            <a:r>
              <a:rPr lang="en-US" sz="1800" b="1" dirty="0">
                <a:latin typeface="+mn-lt"/>
              </a:rPr>
              <a:t>Traceability &amp; usability</a:t>
            </a:r>
            <a:r>
              <a:rPr lang="en-US" sz="1800" dirty="0">
                <a:latin typeface="+mn-lt"/>
              </a:rPr>
              <a:t>: Each extraction is mapped to its exact text source, with interactive HTML visualizations for validation. It supports Gemini in the cloud as well as local models via </a:t>
            </a:r>
            <a:r>
              <a:rPr lang="en-US" sz="1800" dirty="0" err="1">
                <a:latin typeface="+mn-lt"/>
              </a:rPr>
              <a:t>Ollama</a:t>
            </a:r>
            <a:r>
              <a:rPr lang="en-US" sz="1800" dirty="0">
                <a:latin typeface="+mn-lt"/>
              </a:rPr>
              <a:t>.</a:t>
            </a:r>
          </a:p>
        </p:txBody>
      </p:sp>
      <p:sp>
        <p:nvSpPr>
          <p:cNvPr id="4" name="CuadroTexto 3">
            <a:extLst>
              <a:ext uri="{FF2B5EF4-FFF2-40B4-BE49-F238E27FC236}">
                <a16:creationId xmlns:a16="http://schemas.microsoft.com/office/drawing/2014/main" id="{98124C48-E434-B559-1D59-13AA540235F6}"/>
              </a:ext>
            </a:extLst>
          </p:cNvPr>
          <p:cNvSpPr txBox="1"/>
          <p:nvPr/>
        </p:nvSpPr>
        <p:spPr>
          <a:xfrm>
            <a:off x="439259" y="5074652"/>
            <a:ext cx="6070398" cy="1477328"/>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Reliable, transparent data extraction is a bottleneck for many AI workflows. </a:t>
            </a:r>
            <a:r>
              <a:rPr lang="en-US" dirty="0" err="1">
                <a:solidFill>
                  <a:schemeClr val="bg1"/>
                </a:solidFill>
                <a:latin typeface="Santander Text" panose="020B0504020201020104" pitchFamily="34" charset="0"/>
              </a:rPr>
              <a:t>LangExtract</a:t>
            </a:r>
            <a:r>
              <a:rPr lang="en-US" dirty="0">
                <a:solidFill>
                  <a:schemeClr val="bg1"/>
                </a:solidFill>
                <a:latin typeface="Santander Text" panose="020B0504020201020104" pitchFamily="34" charset="0"/>
              </a:rPr>
              <a:t> demonstrates how open-source tooling can make LLM outputs more auditable and actionable—paving the way for safer adoption across domains like healthcare, finance, and research.</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B7DBD80F-C219-BE4F-1F95-F15C4A361D32}"/>
              </a:ext>
            </a:extLst>
          </p:cNvPr>
          <p:cNvSpPr txBox="1"/>
          <p:nvPr/>
        </p:nvSpPr>
        <p:spPr>
          <a:xfrm>
            <a:off x="6892216" y="5017663"/>
            <a:ext cx="5058779" cy="1600438"/>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https://developers.googleblog.com/es/introducing-langextract-a-gemini-powered-information-extraction-library/</a:t>
            </a:r>
            <a:endParaRPr lang="es-ES" sz="1400" dirty="0"/>
          </a:p>
          <a:p>
            <a:pPr>
              <a:buClr>
                <a:srgbClr val="005471"/>
              </a:buClr>
            </a:pPr>
            <a:endParaRPr lang="es-ES" sz="1400" dirty="0"/>
          </a:p>
          <a:p>
            <a:pPr marL="285750" indent="-285750">
              <a:buClr>
                <a:srgbClr val="005471"/>
              </a:buClr>
              <a:buFont typeface="Wingdings" panose="05000000000000000000" pitchFamily="2" charset="2"/>
              <a:buChar char="Ø"/>
            </a:pPr>
            <a:r>
              <a:rPr lang="es-ES" sz="1400" dirty="0">
                <a:hlinkClick r:id="rId4"/>
              </a:rPr>
              <a:t>https://github.com/google/langextract</a:t>
            </a:r>
            <a:endParaRPr lang="es-ES" sz="1400" dirty="0"/>
          </a:p>
          <a:p>
            <a:pPr marL="285750" indent="-285750">
              <a:buFont typeface="Wingdings" panose="05000000000000000000" pitchFamily="2" charset="2"/>
              <a:buChar char="Ø"/>
            </a:pPr>
            <a:endParaRPr lang="es-ES" sz="1400" dirty="0"/>
          </a:p>
        </p:txBody>
      </p:sp>
      <p:pic>
        <p:nvPicPr>
          <p:cNvPr id="10" name="Imagen 9">
            <a:extLst>
              <a:ext uri="{FF2B5EF4-FFF2-40B4-BE49-F238E27FC236}">
                <a16:creationId xmlns:a16="http://schemas.microsoft.com/office/drawing/2014/main" id="{3E905F38-7E43-1EC9-D70C-DF56CB1D03C8}"/>
              </a:ext>
            </a:extLst>
          </p:cNvPr>
          <p:cNvPicPr>
            <a:picLocks noChangeAspect="1"/>
          </p:cNvPicPr>
          <p:nvPr/>
        </p:nvPicPr>
        <p:blipFill>
          <a:blip r:embed="rId5"/>
          <a:stretch>
            <a:fillRect/>
          </a:stretch>
        </p:blipFill>
        <p:spPr>
          <a:xfrm>
            <a:off x="7370496" y="1721089"/>
            <a:ext cx="4102218" cy="3014338"/>
          </a:xfrm>
          <a:prstGeom prst="rect">
            <a:avLst/>
          </a:prstGeom>
        </p:spPr>
      </p:pic>
    </p:spTree>
    <p:extLst>
      <p:ext uri="{BB962C8B-B14F-4D97-AF65-F5344CB8AC3E}">
        <p14:creationId xmlns:p14="http://schemas.microsoft.com/office/powerpoint/2010/main" val="875686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7C9E6-D960-9398-22EE-C204CF05368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BB8BE9C-232A-F41F-46DC-8D490F741C39}"/>
              </a:ext>
            </a:extLst>
          </p:cNvPr>
          <p:cNvSpPr>
            <a:spLocks noGrp="1"/>
          </p:cNvSpPr>
          <p:nvPr>
            <p:ph type="ctrTitle"/>
          </p:nvPr>
        </p:nvSpPr>
        <p:spPr>
          <a:xfrm>
            <a:off x="439259" y="939173"/>
            <a:ext cx="11309829" cy="740981"/>
          </a:xfrm>
        </p:spPr>
        <p:txBody>
          <a:bodyPr/>
          <a:lstStyle/>
          <a:p>
            <a:pPr algn="just"/>
            <a:r>
              <a:rPr lang="en-US" dirty="0"/>
              <a:t>2.8) Perplexity Comet Plus: Redefining the Revenue Model for Journalism</a:t>
            </a:r>
          </a:p>
        </p:txBody>
      </p:sp>
      <p:sp>
        <p:nvSpPr>
          <p:cNvPr id="6" name="Marcador de texto 4">
            <a:extLst>
              <a:ext uri="{FF2B5EF4-FFF2-40B4-BE49-F238E27FC236}">
                <a16:creationId xmlns:a16="http://schemas.microsoft.com/office/drawing/2014/main" id="{0FB17279-041B-F303-CDF3-6A83E25E5E44}"/>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Perplexity introduced Comet Plus, a $5 subscription that challenges the traditional ad-and-click model by compensating publishers whenever AI systems access, cite, or act on their work.</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Revenue innovation</a:t>
            </a:r>
            <a:r>
              <a:rPr lang="en-US" sz="1800" dirty="0">
                <a:latin typeface="+mn-lt"/>
              </a:rPr>
              <a:t>: Moves beyond pageviews—distributing subscription revenue (minus compute costs) directly to publishers based on human visits, search citations, and AI agent interactions.</a:t>
            </a:r>
          </a:p>
          <a:p>
            <a:pPr marL="285750" indent="-285750" algn="just">
              <a:buClr>
                <a:srgbClr val="C00000"/>
              </a:buClr>
              <a:buFont typeface="Wingdings" panose="05000000000000000000" pitchFamily="2" charset="2"/>
              <a:buChar char="§"/>
            </a:pPr>
            <a:r>
              <a:rPr lang="en-US" sz="1800" b="1" dirty="0">
                <a:latin typeface="+mn-lt"/>
              </a:rPr>
              <a:t>Strategic impact</a:t>
            </a:r>
            <a:r>
              <a:rPr lang="en-US" sz="1800" dirty="0">
                <a:latin typeface="+mn-lt"/>
              </a:rPr>
              <a:t>: Bundled with Perplexity Pro and Max, Comet Plus positions itself as a sustainable framework for journalism in an AI-first information economy.</a:t>
            </a:r>
          </a:p>
        </p:txBody>
      </p:sp>
      <p:sp>
        <p:nvSpPr>
          <p:cNvPr id="4" name="CuadroTexto 3">
            <a:extLst>
              <a:ext uri="{FF2B5EF4-FFF2-40B4-BE49-F238E27FC236}">
                <a16:creationId xmlns:a16="http://schemas.microsoft.com/office/drawing/2014/main" id="{7E656263-C6B2-FC56-7010-61D0E61A30A2}"/>
              </a:ext>
            </a:extLst>
          </p:cNvPr>
          <p:cNvSpPr txBox="1"/>
          <p:nvPr/>
        </p:nvSpPr>
        <p:spPr>
          <a:xfrm>
            <a:off x="439259" y="5489323"/>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By shifting from click-based monetization to AI-driven value sharing, Perplexity signals a fundamental change in how publishers can earn revenue in the age of generative AI.</a:t>
            </a:r>
            <a:endParaRPr lang="es-ES" dirty="0">
              <a:solidFill>
                <a:schemeClr val="bg1"/>
              </a:solidFill>
              <a:latin typeface="Santander Text" panose="020B0504020201020104" pitchFamily="34" charset="0"/>
            </a:endParaRPr>
          </a:p>
        </p:txBody>
      </p:sp>
      <p:pic>
        <p:nvPicPr>
          <p:cNvPr id="1026" name="Picture 2" descr="Download Perplexity AI Logo in SVG Vector or PNG File Format - Logo.wine">
            <a:extLst>
              <a:ext uri="{FF2B5EF4-FFF2-40B4-BE49-F238E27FC236}">
                <a16:creationId xmlns:a16="http://schemas.microsoft.com/office/drawing/2014/main" id="{1ABF22D1-531C-2EFB-93D1-6AA409CC17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5961" y="2468562"/>
            <a:ext cx="4023239" cy="2677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5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50014-FA77-8EEB-6351-059A381C789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E0CA661-A3CD-00A8-76B0-37D044EE79BC}"/>
              </a:ext>
            </a:extLst>
          </p:cNvPr>
          <p:cNvSpPr>
            <a:spLocks noGrp="1"/>
          </p:cNvSpPr>
          <p:nvPr>
            <p:ph type="ctrTitle"/>
          </p:nvPr>
        </p:nvSpPr>
        <p:spPr>
          <a:xfrm>
            <a:off x="439259" y="939173"/>
            <a:ext cx="11309829" cy="740981"/>
          </a:xfrm>
        </p:spPr>
        <p:txBody>
          <a:bodyPr/>
          <a:lstStyle/>
          <a:p>
            <a:pPr algn="just"/>
            <a:r>
              <a:rPr lang="en-US" dirty="0"/>
              <a:t>3) Vanguard Insights: How AI Could Offset the Baby Boomer Retirement Wave</a:t>
            </a:r>
          </a:p>
        </p:txBody>
      </p:sp>
      <p:sp>
        <p:nvSpPr>
          <p:cNvPr id="6" name="Marcador de texto 4">
            <a:extLst>
              <a:ext uri="{FF2B5EF4-FFF2-40B4-BE49-F238E27FC236}">
                <a16:creationId xmlns:a16="http://schemas.microsoft.com/office/drawing/2014/main" id="{3B21D5C8-2E81-D7A0-C9FE-DF1A7F622938}"/>
              </a:ext>
            </a:extLst>
          </p:cNvPr>
          <p:cNvSpPr txBox="1">
            <a:spLocks/>
          </p:cNvSpPr>
          <p:nvPr/>
        </p:nvSpPr>
        <p:spPr>
          <a:xfrm>
            <a:off x="439258" y="1943100"/>
            <a:ext cx="2913542" cy="241300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dirty="0">
                <a:latin typeface="+mn-lt"/>
              </a:rPr>
              <a:t>2025 marks the onset of the “silver tsunami”: record numbers of Baby Boomers turning 65 in the US.</a:t>
            </a:r>
          </a:p>
          <a:p>
            <a:pPr marL="285750" indent="-285750" algn="just">
              <a:buClr>
                <a:srgbClr val="C00000"/>
              </a:buClr>
              <a:buFont typeface="Wingdings" panose="05000000000000000000" pitchFamily="2" charset="2"/>
              <a:buChar char="§"/>
            </a:pPr>
            <a:r>
              <a:rPr lang="en-US" sz="1800" dirty="0">
                <a:latin typeface="+mn-lt"/>
              </a:rPr>
              <a:t>Consequences: fewer workers, weaker output, rising fiscal pressures on healthcare and Social Security.</a:t>
            </a:r>
          </a:p>
          <a:p>
            <a:pPr marL="285750" indent="-285750" algn="just">
              <a:buClr>
                <a:srgbClr val="C00000"/>
              </a:buClr>
              <a:buFont typeface="Wingdings" panose="05000000000000000000" pitchFamily="2" charset="2"/>
              <a:buChar char="§"/>
            </a:pPr>
            <a:r>
              <a:rPr lang="en-US" sz="1800" dirty="0">
                <a:latin typeface="+mn-lt"/>
              </a:rPr>
              <a:t>Key insight: demographics shape the economy, but technology historically exerts greater influence.</a:t>
            </a:r>
            <a:endParaRPr lang="en-US" sz="1600" dirty="0">
              <a:latin typeface="+mn-lt"/>
            </a:endParaRPr>
          </a:p>
        </p:txBody>
      </p:sp>
      <p:sp>
        <p:nvSpPr>
          <p:cNvPr id="4" name="CuadroTexto 3">
            <a:extLst>
              <a:ext uri="{FF2B5EF4-FFF2-40B4-BE49-F238E27FC236}">
                <a16:creationId xmlns:a16="http://schemas.microsoft.com/office/drawing/2014/main" id="{87DFC468-1F9B-8979-BD49-0776D1A679DF}"/>
              </a:ext>
            </a:extLst>
          </p:cNvPr>
          <p:cNvSpPr txBox="1"/>
          <p:nvPr/>
        </p:nvSpPr>
        <p:spPr>
          <a:xfrm>
            <a:off x="363057" y="1341706"/>
            <a:ext cx="4013200" cy="400110"/>
          </a:xfrm>
          <a:prstGeom prst="rect">
            <a:avLst/>
          </a:prstGeom>
          <a:noFill/>
        </p:spPr>
        <p:txBody>
          <a:bodyPr wrap="square">
            <a:spAutoFit/>
          </a:bodyPr>
          <a:lstStyle/>
          <a:p>
            <a:r>
              <a:rPr lang="en-US" sz="2000" b="1" noProof="0" dirty="0">
                <a:solidFill>
                  <a:schemeClr val="bg2">
                    <a:lumMod val="50000"/>
                  </a:schemeClr>
                </a:solidFill>
                <a:latin typeface="Santander Text" panose="020B0504020201020104" pitchFamily="34" charset="0"/>
              </a:rPr>
              <a:t>The Demographic Challenge</a:t>
            </a:r>
          </a:p>
        </p:txBody>
      </p:sp>
      <p:pic>
        <p:nvPicPr>
          <p:cNvPr id="5122" name="Picture 2">
            <a:extLst>
              <a:ext uri="{FF2B5EF4-FFF2-40B4-BE49-F238E27FC236}">
                <a16:creationId xmlns:a16="http://schemas.microsoft.com/office/drawing/2014/main" id="{6014819A-CEB3-CF71-7432-C62609BB98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3695" y="1943100"/>
            <a:ext cx="8437793" cy="43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193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2AAF7-C1FF-452D-2424-179BA681D37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307FA5B-842C-6686-9969-1151195C9D7E}"/>
              </a:ext>
            </a:extLst>
          </p:cNvPr>
          <p:cNvSpPr>
            <a:spLocks noGrp="1"/>
          </p:cNvSpPr>
          <p:nvPr>
            <p:ph type="ctrTitle"/>
          </p:nvPr>
        </p:nvSpPr>
        <p:spPr>
          <a:xfrm>
            <a:off x="439259" y="939173"/>
            <a:ext cx="11309829" cy="740981"/>
          </a:xfrm>
        </p:spPr>
        <p:txBody>
          <a:bodyPr/>
          <a:lstStyle/>
          <a:p>
            <a:pPr algn="just"/>
            <a:r>
              <a:rPr lang="en-US" dirty="0"/>
              <a:t>3) Vanguard Insights: How AI Could Offset the Baby Boomer Retirement Wave</a:t>
            </a:r>
          </a:p>
        </p:txBody>
      </p:sp>
      <p:sp>
        <p:nvSpPr>
          <p:cNvPr id="6" name="Marcador de texto 4">
            <a:extLst>
              <a:ext uri="{FF2B5EF4-FFF2-40B4-BE49-F238E27FC236}">
                <a16:creationId xmlns:a16="http://schemas.microsoft.com/office/drawing/2014/main" id="{24F8CB03-D734-8ECC-1CC4-829C73CB7119}"/>
              </a:ext>
            </a:extLst>
          </p:cNvPr>
          <p:cNvSpPr txBox="1">
            <a:spLocks/>
          </p:cNvSpPr>
          <p:nvPr/>
        </p:nvSpPr>
        <p:spPr>
          <a:xfrm>
            <a:off x="439258" y="1943100"/>
            <a:ext cx="2913542" cy="241300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dirty="0">
                <a:latin typeface="+mn-lt"/>
              </a:rPr>
              <a:t>Vanguard Megatrends Model: most workers will feel AI’s impact, but not as full replacement.</a:t>
            </a:r>
          </a:p>
          <a:p>
            <a:pPr marL="285750" indent="-285750" algn="just">
              <a:buClr>
                <a:srgbClr val="C00000"/>
              </a:buClr>
              <a:buFont typeface="Wingdings" panose="05000000000000000000" pitchFamily="2" charset="2"/>
              <a:buChar char="§"/>
            </a:pPr>
            <a:r>
              <a:rPr lang="en-US" sz="1800" dirty="0">
                <a:latin typeface="+mn-lt"/>
              </a:rPr>
              <a:t>~80% of occupations will experience task augmentation rather than elimination.</a:t>
            </a:r>
          </a:p>
          <a:p>
            <a:pPr marL="285750" indent="-285750" algn="just">
              <a:buClr>
                <a:srgbClr val="C00000"/>
              </a:buClr>
              <a:buFont typeface="Wingdings" panose="05000000000000000000" pitchFamily="2" charset="2"/>
              <a:buChar char="§"/>
            </a:pPr>
            <a:r>
              <a:rPr lang="en-US" sz="1800" dirty="0">
                <a:latin typeface="+mn-lt"/>
              </a:rPr>
              <a:t>Average time savings: ~43% of work tasks.</a:t>
            </a:r>
            <a:endParaRPr lang="en-US" sz="1600" dirty="0">
              <a:latin typeface="+mn-lt"/>
            </a:endParaRPr>
          </a:p>
        </p:txBody>
      </p:sp>
      <p:sp>
        <p:nvSpPr>
          <p:cNvPr id="4" name="CuadroTexto 3">
            <a:extLst>
              <a:ext uri="{FF2B5EF4-FFF2-40B4-BE49-F238E27FC236}">
                <a16:creationId xmlns:a16="http://schemas.microsoft.com/office/drawing/2014/main" id="{0A2865A0-AFD5-7F00-76C7-83027AC2C060}"/>
              </a:ext>
            </a:extLst>
          </p:cNvPr>
          <p:cNvSpPr txBox="1"/>
          <p:nvPr/>
        </p:nvSpPr>
        <p:spPr>
          <a:xfrm>
            <a:off x="363057" y="1341706"/>
            <a:ext cx="4013200" cy="400110"/>
          </a:xfrm>
          <a:prstGeom prst="rect">
            <a:avLst/>
          </a:prstGeom>
          <a:noFill/>
        </p:spPr>
        <p:txBody>
          <a:bodyPr wrap="square">
            <a:spAutoFit/>
          </a:bodyPr>
          <a:lstStyle/>
          <a:p>
            <a:r>
              <a:rPr lang="en-US" sz="2000" b="1" noProof="0" dirty="0">
                <a:solidFill>
                  <a:schemeClr val="bg2">
                    <a:lumMod val="50000"/>
                  </a:schemeClr>
                </a:solidFill>
                <a:latin typeface="Santander Text" panose="020B0504020201020104" pitchFamily="34" charset="0"/>
              </a:rPr>
              <a:t>AI’s Impact on Work</a:t>
            </a:r>
          </a:p>
        </p:txBody>
      </p:sp>
      <p:pic>
        <p:nvPicPr>
          <p:cNvPr id="6146" name="Picture 2">
            <a:extLst>
              <a:ext uri="{FF2B5EF4-FFF2-40B4-BE49-F238E27FC236}">
                <a16:creationId xmlns:a16="http://schemas.microsoft.com/office/drawing/2014/main" id="{5E342BA1-B414-7A13-CFAF-297589A065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0506" y="1921302"/>
            <a:ext cx="7698582" cy="433553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4AE98249-ED99-29DC-9901-53EE7C6F56AE}"/>
              </a:ext>
            </a:extLst>
          </p:cNvPr>
          <p:cNvSpPr txBox="1"/>
          <p:nvPr/>
        </p:nvSpPr>
        <p:spPr>
          <a:xfrm>
            <a:off x="6604000" y="5765136"/>
            <a:ext cx="5346700" cy="830997"/>
          </a:xfrm>
          <a:prstGeom prst="rect">
            <a:avLst/>
          </a:prstGeom>
          <a:noFill/>
        </p:spPr>
        <p:txBody>
          <a:bodyPr wrap="square">
            <a:spAutoFit/>
          </a:bodyPr>
          <a:lstStyle/>
          <a:p>
            <a:pPr algn="ctr"/>
            <a:r>
              <a:rPr lang="en-US" sz="1600" b="1" i="0" dirty="0">
                <a:solidFill>
                  <a:srgbClr val="00B0F0"/>
                </a:solidFill>
                <a:effectLst/>
                <a:latin typeface="Spectral"/>
              </a:rPr>
              <a:t>In the occupations represented by the yellow dots (the 16% of jobs where automation could reach 40%+ time savings), job loss is expected. Source: Joe Davis/Vanguard 2025</a:t>
            </a:r>
            <a:endParaRPr lang="es-ES" sz="1600" b="1" dirty="0">
              <a:solidFill>
                <a:srgbClr val="00B0F0"/>
              </a:solidFill>
            </a:endParaRPr>
          </a:p>
        </p:txBody>
      </p:sp>
      <p:sp>
        <p:nvSpPr>
          <p:cNvPr id="8" name="CuadroTexto 7">
            <a:extLst>
              <a:ext uri="{FF2B5EF4-FFF2-40B4-BE49-F238E27FC236}">
                <a16:creationId xmlns:a16="http://schemas.microsoft.com/office/drawing/2014/main" id="{334474D0-9473-7DE4-D96A-E6FF16538E73}"/>
              </a:ext>
            </a:extLst>
          </p:cNvPr>
          <p:cNvSpPr txBox="1"/>
          <p:nvPr/>
        </p:nvSpPr>
        <p:spPr>
          <a:xfrm>
            <a:off x="5030788" y="1390245"/>
            <a:ext cx="6718300" cy="369332"/>
          </a:xfrm>
          <a:prstGeom prst="rect">
            <a:avLst/>
          </a:prstGeom>
          <a:noFill/>
        </p:spPr>
        <p:txBody>
          <a:bodyPr wrap="square">
            <a:spAutoFit/>
          </a:bodyPr>
          <a:lstStyle/>
          <a:p>
            <a:r>
              <a:rPr lang="fr-FR" b="1" dirty="0">
                <a:solidFill>
                  <a:schemeClr val="bg1">
                    <a:lumMod val="50000"/>
                  </a:schemeClr>
                </a:solidFill>
              </a:rPr>
              <a:t>Occupations </a:t>
            </a:r>
            <a:r>
              <a:rPr lang="fr-FR" b="1" dirty="0" err="1">
                <a:solidFill>
                  <a:schemeClr val="bg1">
                    <a:lumMod val="50000"/>
                  </a:schemeClr>
                </a:solidFill>
              </a:rPr>
              <a:t>map</a:t>
            </a:r>
            <a:r>
              <a:rPr lang="fr-FR" b="1" dirty="0">
                <a:solidFill>
                  <a:schemeClr val="bg1">
                    <a:lumMod val="50000"/>
                  </a:schemeClr>
                </a:solidFill>
              </a:rPr>
              <a:t> – automation vs. augmentation </a:t>
            </a:r>
            <a:r>
              <a:rPr lang="fr-FR" b="1" dirty="0" err="1">
                <a:solidFill>
                  <a:schemeClr val="bg1">
                    <a:lumMod val="50000"/>
                  </a:schemeClr>
                </a:solidFill>
              </a:rPr>
              <a:t>potential</a:t>
            </a:r>
            <a:endParaRPr lang="es-ES" b="1" dirty="0">
              <a:solidFill>
                <a:schemeClr val="bg1">
                  <a:lumMod val="50000"/>
                </a:schemeClr>
              </a:solidFill>
            </a:endParaRPr>
          </a:p>
        </p:txBody>
      </p:sp>
    </p:spTree>
    <p:extLst>
      <p:ext uri="{BB962C8B-B14F-4D97-AF65-F5344CB8AC3E}">
        <p14:creationId xmlns:p14="http://schemas.microsoft.com/office/powerpoint/2010/main" val="1357118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92FB5-9D29-6CC1-8FDA-19D2C932389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EC33272-241D-EE43-6D48-DDBEDCA361EA}"/>
              </a:ext>
            </a:extLst>
          </p:cNvPr>
          <p:cNvSpPr>
            <a:spLocks noGrp="1"/>
          </p:cNvSpPr>
          <p:nvPr>
            <p:ph type="ctrTitle"/>
          </p:nvPr>
        </p:nvSpPr>
        <p:spPr>
          <a:xfrm>
            <a:off x="439259" y="939173"/>
            <a:ext cx="11309829" cy="740981"/>
          </a:xfrm>
        </p:spPr>
        <p:txBody>
          <a:bodyPr/>
          <a:lstStyle/>
          <a:p>
            <a:pPr algn="just"/>
            <a:r>
              <a:rPr lang="en-US" dirty="0"/>
              <a:t>3) Vanguard Insights: How AI Could Offset the Baby Boomer Retirement Wave</a:t>
            </a:r>
          </a:p>
        </p:txBody>
      </p:sp>
      <p:sp>
        <p:nvSpPr>
          <p:cNvPr id="6" name="Marcador de texto 4">
            <a:extLst>
              <a:ext uri="{FF2B5EF4-FFF2-40B4-BE49-F238E27FC236}">
                <a16:creationId xmlns:a16="http://schemas.microsoft.com/office/drawing/2014/main" id="{70FD953E-BB70-749D-DEEE-8BEB8701F433}"/>
              </a:ext>
            </a:extLst>
          </p:cNvPr>
          <p:cNvSpPr txBox="1">
            <a:spLocks/>
          </p:cNvSpPr>
          <p:nvPr/>
        </p:nvSpPr>
        <p:spPr>
          <a:xfrm>
            <a:off x="439258" y="1943100"/>
            <a:ext cx="3544550" cy="241300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dirty="0">
                <a:latin typeface="+mn-lt"/>
              </a:rPr>
              <a:t>AI automates routine tasks, shifting human effort to higher-value activities.</a:t>
            </a:r>
          </a:p>
          <a:p>
            <a:pPr marL="285750" indent="-285750" algn="just">
              <a:buClr>
                <a:srgbClr val="C00000"/>
              </a:buClr>
              <a:buFont typeface="Wingdings" panose="05000000000000000000" pitchFamily="2" charset="2"/>
              <a:buChar char="§"/>
            </a:pPr>
            <a:r>
              <a:rPr lang="en-US" sz="1800" dirty="0">
                <a:latin typeface="+mn-lt"/>
              </a:rPr>
              <a:t>Potential GDP growth boost: near 3% in the 2030s, fastest since the late 1990s.</a:t>
            </a:r>
          </a:p>
          <a:p>
            <a:pPr marL="285750" indent="-285750" algn="just">
              <a:buClr>
                <a:srgbClr val="C00000"/>
              </a:buClr>
              <a:buFont typeface="Wingdings" panose="05000000000000000000" pitchFamily="2" charset="2"/>
              <a:buChar char="§"/>
            </a:pPr>
            <a:r>
              <a:rPr lang="en-US" sz="1800" dirty="0">
                <a:latin typeface="+mn-lt"/>
              </a:rPr>
              <a:t>Scale of productivity gains could offset millions of retirements.</a:t>
            </a:r>
          </a:p>
        </p:txBody>
      </p:sp>
      <p:sp>
        <p:nvSpPr>
          <p:cNvPr id="4" name="CuadroTexto 3">
            <a:extLst>
              <a:ext uri="{FF2B5EF4-FFF2-40B4-BE49-F238E27FC236}">
                <a16:creationId xmlns:a16="http://schemas.microsoft.com/office/drawing/2014/main" id="{025D7416-E54C-74DE-0C75-CFF591AB4F1E}"/>
              </a:ext>
            </a:extLst>
          </p:cNvPr>
          <p:cNvSpPr txBox="1"/>
          <p:nvPr/>
        </p:nvSpPr>
        <p:spPr>
          <a:xfrm>
            <a:off x="363057" y="1341706"/>
            <a:ext cx="4013200" cy="400110"/>
          </a:xfrm>
          <a:prstGeom prst="rect">
            <a:avLst/>
          </a:prstGeom>
          <a:noFill/>
        </p:spPr>
        <p:txBody>
          <a:bodyPr wrap="square">
            <a:spAutoFit/>
          </a:bodyPr>
          <a:lstStyle/>
          <a:p>
            <a:r>
              <a:rPr lang="en-US" sz="2000" b="1" noProof="0" dirty="0">
                <a:solidFill>
                  <a:schemeClr val="bg2">
                    <a:lumMod val="50000"/>
                  </a:schemeClr>
                </a:solidFill>
                <a:latin typeface="Santander Text" panose="020B0504020201020104" pitchFamily="34" charset="0"/>
              </a:rPr>
              <a:t>Productivity vs. Retirement Shock</a:t>
            </a:r>
          </a:p>
        </p:txBody>
      </p:sp>
      <p:sp>
        <p:nvSpPr>
          <p:cNvPr id="5" name="CuadroTexto 4">
            <a:extLst>
              <a:ext uri="{FF2B5EF4-FFF2-40B4-BE49-F238E27FC236}">
                <a16:creationId xmlns:a16="http://schemas.microsoft.com/office/drawing/2014/main" id="{B6AA2FC4-9655-FD7B-9748-14A7A7B2CC87}"/>
              </a:ext>
            </a:extLst>
          </p:cNvPr>
          <p:cNvSpPr txBox="1"/>
          <p:nvPr/>
        </p:nvSpPr>
        <p:spPr>
          <a:xfrm>
            <a:off x="4076700" y="5956682"/>
            <a:ext cx="8115300" cy="369332"/>
          </a:xfrm>
          <a:prstGeom prst="rect">
            <a:avLst/>
          </a:prstGeom>
          <a:noFill/>
        </p:spPr>
        <p:txBody>
          <a:bodyPr wrap="square">
            <a:spAutoFit/>
          </a:bodyPr>
          <a:lstStyle/>
          <a:p>
            <a:pPr algn="ctr"/>
            <a:r>
              <a:rPr lang="en-US" b="1" i="0" dirty="0">
                <a:solidFill>
                  <a:srgbClr val="868787"/>
                </a:solidFill>
                <a:effectLst/>
                <a:latin typeface="Spectral"/>
              </a:rPr>
              <a:t>Comparison – Baby Boomer retirements vs. jobs affected vs. transformational AI</a:t>
            </a:r>
            <a:endParaRPr lang="es-ES" b="1" dirty="0"/>
          </a:p>
        </p:txBody>
      </p:sp>
      <p:pic>
        <p:nvPicPr>
          <p:cNvPr id="7170" name="Picture 2">
            <a:extLst>
              <a:ext uri="{FF2B5EF4-FFF2-40B4-BE49-F238E27FC236}">
                <a16:creationId xmlns:a16="http://schemas.microsoft.com/office/drawing/2014/main" id="{96BC0B7E-E44E-D768-DC5D-4F30C13D2B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6720" y="1862639"/>
            <a:ext cx="7322368" cy="409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589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95394-5604-3A30-5B7A-8A44B11B3A26}"/>
            </a:ext>
          </a:extLst>
        </p:cNvPr>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0BF2DC9-A5E8-256B-89B8-47048BF7962E}"/>
              </a:ext>
            </a:extLst>
          </p:cNvPr>
          <p:cNvSpPr>
            <a:spLocks noGrp="1"/>
          </p:cNvSpPr>
          <p:nvPr>
            <p:ph type="sldNum" sz="quarter" idx="4"/>
          </p:nvPr>
        </p:nvSpPr>
        <p:spPr/>
        <p:txBody>
          <a:bodyPr/>
          <a:lstStyle/>
          <a:p>
            <a:pPr marL="107314">
              <a:spcBef>
                <a:spcPts val="204"/>
              </a:spcBef>
            </a:pPr>
            <a:fld id="{81D60167-4931-47E6-BA6A-407CBD079E47}" type="slidenum">
              <a:rPr lang="es-ES" smtClean="0"/>
              <a:pPr marL="107314">
                <a:spcBef>
                  <a:spcPts val="204"/>
                </a:spcBef>
              </a:pPr>
              <a:t>2</a:t>
            </a:fld>
            <a:endParaRPr lang="es-ES" dirty="0"/>
          </a:p>
        </p:txBody>
      </p:sp>
      <p:pic>
        <p:nvPicPr>
          <p:cNvPr id="4" name="Imagen 3" descr="Persona en bicicleta en la calle&#10;&#10;Descripción generada automáticamente">
            <a:extLst>
              <a:ext uri="{FF2B5EF4-FFF2-40B4-BE49-F238E27FC236}">
                <a16:creationId xmlns:a16="http://schemas.microsoft.com/office/drawing/2014/main" id="{F2082253-BF57-CDC8-3CB9-EB547D6FE53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5" name="Conector recto 4">
            <a:extLst>
              <a:ext uri="{FF2B5EF4-FFF2-40B4-BE49-F238E27FC236}">
                <a16:creationId xmlns:a16="http://schemas.microsoft.com/office/drawing/2014/main" id="{8D012857-B333-C97F-C296-F449DA4A0F04}"/>
              </a:ext>
            </a:extLst>
          </p:cNvPr>
          <p:cNvCxnSpPr>
            <a:cxnSpLocks/>
          </p:cNvCxnSpPr>
          <p:nvPr/>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80D29698-532B-BBFC-D784-098B875DEA05}"/>
              </a:ext>
            </a:extLst>
          </p:cNvPr>
          <p:cNvCxnSpPr>
            <a:cxnSpLocks/>
          </p:cNvCxnSpPr>
          <p:nvPr/>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155B69C2-82DA-4AA2-CE3D-92B1168C4913}"/>
              </a:ext>
            </a:extLst>
          </p:cNvPr>
          <p:cNvSpPr txBox="1">
            <a:spLocks/>
          </p:cNvSpPr>
          <p:nvPr/>
        </p:nvSpPr>
        <p:spPr>
          <a:xfrm>
            <a:off x="369094" y="1184650"/>
            <a:ext cx="10710384" cy="859303"/>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buFont typeface="Arial" panose="020B0604020202020204" pitchFamily="34" charset="0"/>
              <a:buNone/>
            </a:pPr>
            <a:r>
              <a:rPr lang="en-US" sz="4400" dirty="0">
                <a:solidFill>
                  <a:schemeClr val="accent2"/>
                </a:solidFill>
                <a:latin typeface="Santander Headline" panose="020B0504020201020104" pitchFamily="34" charset="0"/>
                <a:ea typeface="+mj-ea"/>
              </a:rPr>
              <a:t>Index</a:t>
            </a:r>
          </a:p>
        </p:txBody>
      </p:sp>
      <p:sp>
        <p:nvSpPr>
          <p:cNvPr id="8" name="Text Placeholder 2">
            <a:extLst>
              <a:ext uri="{FF2B5EF4-FFF2-40B4-BE49-F238E27FC236}">
                <a16:creationId xmlns:a16="http://schemas.microsoft.com/office/drawing/2014/main" id="{B653FEEB-5B1B-5220-1426-D789485673FE}"/>
              </a:ext>
            </a:extLst>
          </p:cNvPr>
          <p:cNvSpPr txBox="1">
            <a:spLocks/>
          </p:cNvSpPr>
          <p:nvPr/>
        </p:nvSpPr>
        <p:spPr>
          <a:xfrm>
            <a:off x="423863" y="1987247"/>
            <a:ext cx="5138082" cy="4488700"/>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lnSpc>
                <a:spcPct val="150000"/>
              </a:lnSpc>
              <a:buClr>
                <a:srgbClr val="C00000"/>
              </a:buClr>
              <a:buNone/>
            </a:pPr>
            <a:r>
              <a:rPr lang="en-US" sz="1600" b="1" dirty="0">
                <a:solidFill>
                  <a:srgbClr val="C00000"/>
                </a:solidFill>
              </a:rPr>
              <a:t>1) </a:t>
            </a:r>
            <a:r>
              <a:rPr lang="en-US" sz="1600" b="1" dirty="0"/>
              <a:t>Survey</a:t>
            </a:r>
          </a:p>
          <a:p>
            <a:pPr marL="0" indent="0">
              <a:lnSpc>
                <a:spcPct val="150000"/>
              </a:lnSpc>
              <a:buClr>
                <a:srgbClr val="C00000"/>
              </a:buClr>
              <a:buNone/>
            </a:pPr>
            <a:r>
              <a:rPr lang="en-US" sz="1600" b="1" dirty="0">
                <a:solidFill>
                  <a:srgbClr val="C00000"/>
                </a:solidFill>
              </a:rPr>
              <a:t>2) </a:t>
            </a:r>
            <a:r>
              <a:rPr lang="en-US" sz="1600" b="1" dirty="0"/>
              <a:t>Recent updates in AI</a:t>
            </a:r>
          </a:p>
          <a:p>
            <a:pPr marL="0" indent="0">
              <a:lnSpc>
                <a:spcPct val="150000"/>
              </a:lnSpc>
              <a:buClr>
                <a:srgbClr val="C00000"/>
              </a:buClr>
              <a:buNone/>
            </a:pPr>
            <a:r>
              <a:rPr lang="en-US" sz="1600" b="1" dirty="0">
                <a:solidFill>
                  <a:srgbClr val="C00000"/>
                </a:solidFill>
              </a:rPr>
              <a:t>3)</a:t>
            </a:r>
            <a:r>
              <a:rPr lang="en-US" sz="1600" b="1" dirty="0"/>
              <a:t> Vanguard Insights: How AI Could Offset the Baby Boomer Retirement Wave</a:t>
            </a:r>
          </a:p>
          <a:p>
            <a:pPr marL="0" indent="0">
              <a:lnSpc>
                <a:spcPct val="150000"/>
              </a:lnSpc>
              <a:buClr>
                <a:srgbClr val="C00000"/>
              </a:buClr>
              <a:buNone/>
            </a:pPr>
            <a:r>
              <a:rPr lang="en-US" sz="1600" b="1" dirty="0">
                <a:solidFill>
                  <a:srgbClr val="C00000"/>
                </a:solidFill>
              </a:rPr>
              <a:t>4)</a:t>
            </a:r>
            <a:r>
              <a:rPr lang="en-US" sz="1600" b="1" dirty="0"/>
              <a:t> OpenAI Research: Why language models hallucinate</a:t>
            </a:r>
          </a:p>
          <a:p>
            <a:pPr marL="0" indent="0">
              <a:lnSpc>
                <a:spcPct val="150000"/>
              </a:lnSpc>
              <a:buClr>
                <a:srgbClr val="C00000"/>
              </a:buClr>
              <a:buNone/>
            </a:pPr>
            <a:r>
              <a:rPr lang="en-US" sz="1600" b="1" dirty="0">
                <a:solidFill>
                  <a:srgbClr val="C00000"/>
                </a:solidFill>
              </a:rPr>
              <a:t>5) </a:t>
            </a:r>
            <a:r>
              <a:rPr lang="en-US" sz="1600" b="1" dirty="0"/>
              <a:t>Takeaways</a:t>
            </a:r>
          </a:p>
        </p:txBody>
      </p:sp>
    </p:spTree>
    <p:extLst>
      <p:ext uri="{BB962C8B-B14F-4D97-AF65-F5344CB8AC3E}">
        <p14:creationId xmlns:p14="http://schemas.microsoft.com/office/powerpoint/2010/main" val="88093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6C7E8-CA93-F742-05A0-466562FB54F1}"/>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93E2421-E5ED-8770-9640-36A26E2403ED}"/>
              </a:ext>
            </a:extLst>
          </p:cNvPr>
          <p:cNvSpPr>
            <a:spLocks noGrp="1"/>
          </p:cNvSpPr>
          <p:nvPr>
            <p:ph type="ctrTitle"/>
          </p:nvPr>
        </p:nvSpPr>
        <p:spPr>
          <a:xfrm>
            <a:off x="439259" y="939173"/>
            <a:ext cx="11309829" cy="740981"/>
          </a:xfrm>
        </p:spPr>
        <p:txBody>
          <a:bodyPr/>
          <a:lstStyle/>
          <a:p>
            <a:pPr algn="just"/>
            <a:r>
              <a:rPr lang="en-US" dirty="0"/>
              <a:t>3) Vanguard Insights: How AI Could Offset the Baby Boomer Retirement Wave</a:t>
            </a:r>
          </a:p>
        </p:txBody>
      </p:sp>
      <p:sp>
        <p:nvSpPr>
          <p:cNvPr id="6" name="Marcador de texto 4">
            <a:extLst>
              <a:ext uri="{FF2B5EF4-FFF2-40B4-BE49-F238E27FC236}">
                <a16:creationId xmlns:a16="http://schemas.microsoft.com/office/drawing/2014/main" id="{31C4E39D-516F-F9DC-8549-D7FC82B968DF}"/>
              </a:ext>
            </a:extLst>
          </p:cNvPr>
          <p:cNvSpPr txBox="1">
            <a:spLocks/>
          </p:cNvSpPr>
          <p:nvPr/>
        </p:nvSpPr>
        <p:spPr>
          <a:xfrm>
            <a:off x="439258" y="1943100"/>
            <a:ext cx="11155842" cy="40011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Two main scenarios ahead:</a:t>
            </a:r>
            <a:endParaRPr lang="en-US" sz="2388" dirty="0">
              <a:latin typeface="+mn-lt"/>
            </a:endParaRPr>
          </a:p>
        </p:txBody>
      </p:sp>
      <p:sp>
        <p:nvSpPr>
          <p:cNvPr id="4" name="CuadroTexto 3">
            <a:extLst>
              <a:ext uri="{FF2B5EF4-FFF2-40B4-BE49-F238E27FC236}">
                <a16:creationId xmlns:a16="http://schemas.microsoft.com/office/drawing/2014/main" id="{42506090-B584-58E7-AAD4-95A4F292C9D7}"/>
              </a:ext>
            </a:extLst>
          </p:cNvPr>
          <p:cNvSpPr txBox="1"/>
          <p:nvPr/>
        </p:nvSpPr>
        <p:spPr>
          <a:xfrm>
            <a:off x="363057" y="1341706"/>
            <a:ext cx="4013200" cy="400110"/>
          </a:xfrm>
          <a:prstGeom prst="rect">
            <a:avLst/>
          </a:prstGeom>
          <a:noFill/>
        </p:spPr>
        <p:txBody>
          <a:bodyPr wrap="square">
            <a:spAutoFit/>
          </a:bodyPr>
          <a:lstStyle/>
          <a:p>
            <a:r>
              <a:rPr lang="en-US" sz="2000" b="1" noProof="0" dirty="0">
                <a:solidFill>
                  <a:schemeClr val="bg2">
                    <a:lumMod val="50000"/>
                  </a:schemeClr>
                </a:solidFill>
                <a:latin typeface="Santander Text" panose="020B0504020201020104" pitchFamily="34" charset="0"/>
              </a:rPr>
              <a:t>Scenarios &amp; Investment Takeaways</a:t>
            </a:r>
          </a:p>
        </p:txBody>
      </p:sp>
      <p:sp>
        <p:nvSpPr>
          <p:cNvPr id="3" name="Rectángulo: esquinas redondeadas 2">
            <a:extLst>
              <a:ext uri="{FF2B5EF4-FFF2-40B4-BE49-F238E27FC236}">
                <a16:creationId xmlns:a16="http://schemas.microsoft.com/office/drawing/2014/main" id="{4A8B6D48-C9E0-4824-E926-041015735CED}"/>
              </a:ext>
            </a:extLst>
          </p:cNvPr>
          <p:cNvSpPr/>
          <p:nvPr/>
        </p:nvSpPr>
        <p:spPr>
          <a:xfrm>
            <a:off x="439258" y="2374900"/>
            <a:ext cx="5364642" cy="584200"/>
          </a:xfrm>
          <a:prstGeom prst="roundRect">
            <a:avLst/>
          </a:prstGeom>
          <a:solidFill>
            <a:srgbClr val="0081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b="1" dirty="0" err="1"/>
              <a:t>Productivity</a:t>
            </a:r>
            <a:r>
              <a:rPr lang="es-ES" b="1" dirty="0"/>
              <a:t> Surge (</a:t>
            </a:r>
            <a:r>
              <a:rPr lang="es-ES" b="1" dirty="0" err="1"/>
              <a:t>Prob</a:t>
            </a:r>
            <a:r>
              <a:rPr lang="es-ES" b="1" dirty="0"/>
              <a:t>. 45 - 55%)</a:t>
            </a:r>
          </a:p>
        </p:txBody>
      </p:sp>
      <p:sp>
        <p:nvSpPr>
          <p:cNvPr id="9" name="Rectángulo: esquinas redondeadas 8">
            <a:extLst>
              <a:ext uri="{FF2B5EF4-FFF2-40B4-BE49-F238E27FC236}">
                <a16:creationId xmlns:a16="http://schemas.microsoft.com/office/drawing/2014/main" id="{AF8843CB-4BA7-0D18-F288-EB92258CEEFF}"/>
              </a:ext>
            </a:extLst>
          </p:cNvPr>
          <p:cNvSpPr/>
          <p:nvPr/>
        </p:nvSpPr>
        <p:spPr>
          <a:xfrm>
            <a:off x="6230458" y="2374900"/>
            <a:ext cx="5364642" cy="584200"/>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b="1" dirty="0" err="1"/>
              <a:t>Deficits</a:t>
            </a:r>
            <a:r>
              <a:rPr lang="es-ES" b="1" dirty="0"/>
              <a:t> Drag (</a:t>
            </a:r>
            <a:r>
              <a:rPr lang="es-ES" b="1" dirty="0" err="1"/>
              <a:t>Prob</a:t>
            </a:r>
            <a:r>
              <a:rPr lang="es-ES" b="1" dirty="0"/>
              <a:t>. 30% - 40%)</a:t>
            </a:r>
          </a:p>
        </p:txBody>
      </p:sp>
      <p:sp>
        <p:nvSpPr>
          <p:cNvPr id="10" name="Marcador de texto 4">
            <a:extLst>
              <a:ext uri="{FF2B5EF4-FFF2-40B4-BE49-F238E27FC236}">
                <a16:creationId xmlns:a16="http://schemas.microsoft.com/office/drawing/2014/main" id="{875C1840-CBD9-BE80-A0EF-172E0EAB3A2E}"/>
              </a:ext>
            </a:extLst>
          </p:cNvPr>
          <p:cNvSpPr txBox="1">
            <a:spLocks/>
          </p:cNvSpPr>
          <p:nvPr/>
        </p:nvSpPr>
        <p:spPr>
          <a:xfrm>
            <a:off x="580546" y="3152746"/>
            <a:ext cx="5045554" cy="1203354"/>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AI becomes a general-purpose technology (like electricity), sparking new industries, boosting productivity beyond PCs/Internet, moderating inflation, and reducing deficits through stronger growth.</a:t>
            </a:r>
            <a:endParaRPr lang="en-US" sz="2388" dirty="0">
              <a:latin typeface="+mn-lt"/>
            </a:endParaRPr>
          </a:p>
        </p:txBody>
      </p:sp>
      <p:sp>
        <p:nvSpPr>
          <p:cNvPr id="11" name="Marcador de texto 4">
            <a:extLst>
              <a:ext uri="{FF2B5EF4-FFF2-40B4-BE49-F238E27FC236}">
                <a16:creationId xmlns:a16="http://schemas.microsoft.com/office/drawing/2014/main" id="{E77F9DD2-4B04-12F2-C63E-98AA8220F670}"/>
              </a:ext>
            </a:extLst>
          </p:cNvPr>
          <p:cNvSpPr txBox="1">
            <a:spLocks/>
          </p:cNvSpPr>
          <p:nvPr/>
        </p:nvSpPr>
        <p:spPr>
          <a:xfrm>
            <a:off x="6390002" y="3152746"/>
            <a:ext cx="5045554" cy="1203354"/>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AI disappoints, government deficits climb, borrowing costs rise, inflation is sticky, living standards stagnate, U.S. growth converges with Europe’s.</a:t>
            </a:r>
            <a:endParaRPr lang="en-US" sz="2388" dirty="0">
              <a:latin typeface="+mn-lt"/>
            </a:endParaRPr>
          </a:p>
        </p:txBody>
      </p:sp>
      <p:sp>
        <p:nvSpPr>
          <p:cNvPr id="12" name="Marcador de texto 4">
            <a:extLst>
              <a:ext uri="{FF2B5EF4-FFF2-40B4-BE49-F238E27FC236}">
                <a16:creationId xmlns:a16="http://schemas.microsoft.com/office/drawing/2014/main" id="{6C4E7D48-4C87-889E-286E-E8971610DBA0}"/>
              </a:ext>
            </a:extLst>
          </p:cNvPr>
          <p:cNvSpPr txBox="1">
            <a:spLocks/>
          </p:cNvSpPr>
          <p:nvPr/>
        </p:nvSpPr>
        <p:spPr>
          <a:xfrm>
            <a:off x="439260" y="4974525"/>
            <a:ext cx="11155840" cy="1413576"/>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b="1" dirty="0">
                <a:latin typeface="+mn-lt"/>
              </a:rPr>
              <a:t>Key risk driver</a:t>
            </a:r>
            <a:r>
              <a:rPr lang="en-US" sz="1800" dirty="0">
                <a:latin typeface="+mn-lt"/>
              </a:rPr>
              <a:t>: Monetary policy has limited ability to offset weak growth if AI underperforms; productivity depends on how effectively organizations leverage AI.</a:t>
            </a:r>
          </a:p>
          <a:p>
            <a:pPr marL="285750" indent="-285750" algn="just">
              <a:buClr>
                <a:srgbClr val="C00000"/>
              </a:buClr>
              <a:buFont typeface="Wingdings" panose="05000000000000000000" pitchFamily="2" charset="2"/>
              <a:buChar char="§"/>
            </a:pPr>
            <a:r>
              <a:rPr lang="en-US" sz="1800" b="1" dirty="0">
                <a:latin typeface="+mn-lt"/>
              </a:rPr>
              <a:t>Workforce dynamics</a:t>
            </a:r>
            <a:r>
              <a:rPr lang="en-US" sz="1800" dirty="0">
                <a:latin typeface="+mn-lt"/>
              </a:rPr>
              <a:t>: Smooth adoption requires easing occupational transitions, reducing unnecessary certifications, and expanding talent pools to mitigate social disruption.</a:t>
            </a:r>
          </a:p>
        </p:txBody>
      </p:sp>
    </p:spTree>
    <p:extLst>
      <p:ext uri="{BB962C8B-B14F-4D97-AF65-F5344CB8AC3E}">
        <p14:creationId xmlns:p14="http://schemas.microsoft.com/office/powerpoint/2010/main" val="1464428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4933DB-D02F-A8F5-BE76-11C26F79743E}"/>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702CF72-4662-11FE-00D9-9EDDF4DF82A0}"/>
              </a:ext>
            </a:extLst>
          </p:cNvPr>
          <p:cNvSpPr>
            <a:spLocks noGrp="1"/>
          </p:cNvSpPr>
          <p:nvPr>
            <p:ph type="ctrTitle"/>
          </p:nvPr>
        </p:nvSpPr>
        <p:spPr>
          <a:xfrm>
            <a:off x="439259" y="939173"/>
            <a:ext cx="11309829" cy="740981"/>
          </a:xfrm>
        </p:spPr>
        <p:txBody>
          <a:bodyPr/>
          <a:lstStyle/>
          <a:p>
            <a:pPr algn="just"/>
            <a:r>
              <a:rPr lang="en-US" dirty="0"/>
              <a:t>4) OpenAI Research: Why language models hallucinate</a:t>
            </a:r>
          </a:p>
        </p:txBody>
      </p:sp>
      <p:sp>
        <p:nvSpPr>
          <p:cNvPr id="6" name="Marcador de texto 4">
            <a:extLst>
              <a:ext uri="{FF2B5EF4-FFF2-40B4-BE49-F238E27FC236}">
                <a16:creationId xmlns:a16="http://schemas.microsoft.com/office/drawing/2014/main" id="{0730212F-C31C-6B25-1665-57A36542F0DD}"/>
              </a:ext>
            </a:extLst>
          </p:cNvPr>
          <p:cNvSpPr txBox="1">
            <a:spLocks/>
          </p:cNvSpPr>
          <p:nvPr/>
        </p:nvSpPr>
        <p:spPr>
          <a:xfrm>
            <a:off x="439257" y="1943100"/>
            <a:ext cx="4311163" cy="241300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b="1" dirty="0">
                <a:latin typeface="+mn-lt"/>
              </a:rPr>
              <a:t>Problem</a:t>
            </a:r>
            <a:r>
              <a:rPr lang="en-US" sz="1800" dirty="0">
                <a:latin typeface="+mn-lt"/>
              </a:rPr>
              <a:t>: Models often produce confident but false answers.</a:t>
            </a:r>
          </a:p>
          <a:p>
            <a:pPr marL="285750" indent="-285750" algn="just">
              <a:buClr>
                <a:srgbClr val="C00000"/>
              </a:buClr>
              <a:buFont typeface="Wingdings" panose="05000000000000000000" pitchFamily="2" charset="2"/>
              <a:buChar char="§"/>
            </a:pPr>
            <a:r>
              <a:rPr lang="en-US" sz="1800" b="1" dirty="0">
                <a:latin typeface="+mn-lt"/>
              </a:rPr>
              <a:t>Cause: Training and evaluation reward guessing over admitting uncertainty.</a:t>
            </a:r>
          </a:p>
          <a:p>
            <a:pPr marL="285750" indent="-285750" algn="just">
              <a:buClr>
                <a:srgbClr val="C00000"/>
              </a:buClr>
              <a:buFont typeface="Wingdings" panose="05000000000000000000" pitchFamily="2" charset="2"/>
              <a:buChar char="§"/>
            </a:pPr>
            <a:r>
              <a:rPr lang="en-US" sz="1800" b="1" dirty="0">
                <a:latin typeface="+mn-lt"/>
              </a:rPr>
              <a:t>Insight</a:t>
            </a:r>
            <a:r>
              <a:rPr lang="en-US" sz="1800" dirty="0">
                <a:latin typeface="+mn-lt"/>
              </a:rPr>
              <a:t>: Hallucinations are predictable, not random bugs.</a:t>
            </a:r>
          </a:p>
          <a:p>
            <a:pPr marL="285750" indent="-285750" algn="just">
              <a:buClr>
                <a:srgbClr val="C00000"/>
              </a:buClr>
              <a:buFont typeface="Wingdings" panose="05000000000000000000" pitchFamily="2" charset="2"/>
              <a:buChar char="§"/>
            </a:pPr>
            <a:r>
              <a:rPr lang="en-US" sz="1800" b="1" dirty="0">
                <a:latin typeface="+mn-lt"/>
              </a:rPr>
              <a:t>Solution: Redesign evaluations to penalize wrong confidence and reward honesty.</a:t>
            </a:r>
          </a:p>
          <a:p>
            <a:pPr marL="285750" indent="-285750" algn="just">
              <a:buClr>
                <a:srgbClr val="C00000"/>
              </a:buClr>
              <a:buFont typeface="Wingdings" panose="05000000000000000000" pitchFamily="2" charset="2"/>
              <a:buChar char="§"/>
            </a:pPr>
            <a:r>
              <a:rPr lang="en-US" sz="1800" b="1" dirty="0">
                <a:latin typeface="+mn-lt"/>
              </a:rPr>
              <a:t>Impact</a:t>
            </a:r>
            <a:r>
              <a:rPr lang="en-US" sz="1800" dirty="0">
                <a:latin typeface="+mn-lt"/>
              </a:rPr>
              <a:t>: More reliable and trustworthy AI outputs.</a:t>
            </a:r>
            <a:endParaRPr lang="en-US" sz="1600" dirty="0">
              <a:latin typeface="+mn-lt"/>
            </a:endParaRPr>
          </a:p>
        </p:txBody>
      </p:sp>
      <p:sp>
        <p:nvSpPr>
          <p:cNvPr id="3" name="CuadroTexto 2">
            <a:extLst>
              <a:ext uri="{FF2B5EF4-FFF2-40B4-BE49-F238E27FC236}">
                <a16:creationId xmlns:a16="http://schemas.microsoft.com/office/drawing/2014/main" id="{AA8C2CB3-27F3-5515-D10C-9D970839CA40}"/>
              </a:ext>
            </a:extLst>
          </p:cNvPr>
          <p:cNvSpPr txBox="1"/>
          <p:nvPr/>
        </p:nvSpPr>
        <p:spPr>
          <a:xfrm>
            <a:off x="6234297" y="5775939"/>
            <a:ext cx="5058779" cy="954107"/>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https://openai.com/index/why-language-models-hallucinate/</a:t>
            </a:r>
            <a:endParaRPr lang="es-ES" sz="1400" dirty="0"/>
          </a:p>
          <a:p>
            <a:pPr marL="285750" indent="-285750">
              <a:buFont typeface="Wingdings" panose="05000000000000000000" pitchFamily="2" charset="2"/>
              <a:buChar char="Ø"/>
            </a:pPr>
            <a:endParaRPr lang="es-ES" sz="1400" dirty="0"/>
          </a:p>
        </p:txBody>
      </p:sp>
      <p:pic>
        <p:nvPicPr>
          <p:cNvPr id="7" name="Imagen 6">
            <a:extLst>
              <a:ext uri="{FF2B5EF4-FFF2-40B4-BE49-F238E27FC236}">
                <a16:creationId xmlns:a16="http://schemas.microsoft.com/office/drawing/2014/main" id="{F78B644B-8617-6B8D-119D-67FF7241050F}"/>
              </a:ext>
            </a:extLst>
          </p:cNvPr>
          <p:cNvPicPr>
            <a:picLocks noChangeAspect="1"/>
          </p:cNvPicPr>
          <p:nvPr/>
        </p:nvPicPr>
        <p:blipFill>
          <a:blip r:embed="rId4"/>
          <a:stretch>
            <a:fillRect/>
          </a:stretch>
        </p:blipFill>
        <p:spPr>
          <a:xfrm>
            <a:off x="6234297" y="3660583"/>
            <a:ext cx="4457929" cy="2044805"/>
          </a:xfrm>
          <a:prstGeom prst="rect">
            <a:avLst/>
          </a:prstGeom>
        </p:spPr>
      </p:pic>
      <p:sp>
        <p:nvSpPr>
          <p:cNvPr id="8" name="Marcador de texto 4">
            <a:extLst>
              <a:ext uri="{FF2B5EF4-FFF2-40B4-BE49-F238E27FC236}">
                <a16:creationId xmlns:a16="http://schemas.microsoft.com/office/drawing/2014/main" id="{3FB40CF3-A328-018E-0D39-1F8C5EC11923}"/>
              </a:ext>
            </a:extLst>
          </p:cNvPr>
          <p:cNvSpPr txBox="1">
            <a:spLocks/>
          </p:cNvSpPr>
          <p:nvPr/>
        </p:nvSpPr>
        <p:spPr>
          <a:xfrm>
            <a:off x="5687765" y="1889129"/>
            <a:ext cx="6061323" cy="241300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Ø"/>
            </a:pPr>
            <a:r>
              <a:rPr lang="en-US" sz="1800" b="1" u="sng" dirty="0">
                <a:latin typeface="+mn-lt"/>
              </a:rPr>
              <a:t>Current evaluations reward guessing over abstaining.</a:t>
            </a:r>
            <a:r>
              <a:rPr lang="en-US" sz="1800" dirty="0">
                <a:latin typeface="+mn-lt"/>
              </a:rPr>
              <a:t> Models that abstain more (like gpt-5-thinking-mini) avoid many errors, while models pushed to always answer (like o4-mini) score slightly higher in accuracy but “hallucinate” far more. In other words, </a:t>
            </a:r>
            <a:r>
              <a:rPr lang="en-US" sz="1800" b="1" u="sng" dirty="0">
                <a:latin typeface="+mn-lt"/>
              </a:rPr>
              <a:t>models are effectively designed to hallucinate in order to achieve better evaluation scores.</a:t>
            </a:r>
            <a:endParaRPr lang="en-US" sz="1600" b="1" u="sng" dirty="0">
              <a:latin typeface="+mn-lt"/>
            </a:endParaRPr>
          </a:p>
        </p:txBody>
      </p:sp>
    </p:spTree>
    <p:extLst>
      <p:ext uri="{BB962C8B-B14F-4D97-AF65-F5344CB8AC3E}">
        <p14:creationId xmlns:p14="http://schemas.microsoft.com/office/powerpoint/2010/main" val="1596710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9C14-9A55-978F-66EF-5E82BCBD150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6F95705-6917-1727-A0C6-327AA67DDC36}"/>
              </a:ext>
            </a:extLst>
          </p:cNvPr>
          <p:cNvSpPr>
            <a:spLocks noGrp="1"/>
          </p:cNvSpPr>
          <p:nvPr>
            <p:ph type="ctrTitle"/>
          </p:nvPr>
        </p:nvSpPr>
        <p:spPr>
          <a:xfrm>
            <a:off x="439259" y="939173"/>
            <a:ext cx="11309829" cy="740981"/>
          </a:xfrm>
        </p:spPr>
        <p:txBody>
          <a:bodyPr/>
          <a:lstStyle/>
          <a:p>
            <a:pPr algn="just"/>
            <a:r>
              <a:rPr lang="en-US" dirty="0"/>
              <a:t>4) Takeaways (I)</a:t>
            </a:r>
          </a:p>
        </p:txBody>
      </p:sp>
      <p:sp>
        <p:nvSpPr>
          <p:cNvPr id="6" name="Marcador de texto 4">
            <a:extLst>
              <a:ext uri="{FF2B5EF4-FFF2-40B4-BE49-F238E27FC236}">
                <a16:creationId xmlns:a16="http://schemas.microsoft.com/office/drawing/2014/main" id="{280A4E55-B5B6-7FBE-ABE3-03B386534805}"/>
              </a:ext>
            </a:extLst>
          </p:cNvPr>
          <p:cNvSpPr txBox="1">
            <a:spLocks/>
          </p:cNvSpPr>
          <p:nvPr/>
        </p:nvSpPr>
        <p:spPr>
          <a:xfrm>
            <a:off x="439259" y="1508034"/>
            <a:ext cx="11309829"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General discussions</a:t>
            </a:r>
            <a:endParaRPr lang="en-US" sz="1800" dirty="0">
              <a:latin typeface="+mn-lt"/>
            </a:endParaRPr>
          </a:p>
          <a:p>
            <a:pPr marL="285750" indent="-285750" algn="just">
              <a:buClr>
                <a:srgbClr val="C00000"/>
              </a:buClr>
              <a:buFont typeface="Wingdings" panose="05000000000000000000" pitchFamily="2" charset="2"/>
              <a:buChar char="§"/>
            </a:pPr>
            <a:r>
              <a:rPr lang="en-US" sz="1600" dirty="0">
                <a:latin typeface="+mn-lt"/>
              </a:rPr>
              <a:t>Participants expressed overall </a:t>
            </a:r>
            <a:r>
              <a:rPr lang="en-US" sz="1600" b="1" dirty="0">
                <a:latin typeface="+mn-lt"/>
              </a:rPr>
              <a:t>optimism about AI’s impact</a:t>
            </a:r>
            <a:r>
              <a:rPr lang="en-US" sz="1600" dirty="0">
                <a:latin typeface="+mn-lt"/>
              </a:rPr>
              <a:t>, especially in productivity, communication, and document handling.</a:t>
            </a:r>
          </a:p>
          <a:p>
            <a:pPr marL="285750" indent="-285750" algn="just">
              <a:buClr>
                <a:srgbClr val="C00000"/>
              </a:buClr>
              <a:buFont typeface="Wingdings" panose="05000000000000000000" pitchFamily="2" charset="2"/>
              <a:buChar char="§"/>
            </a:pPr>
            <a:r>
              <a:rPr lang="en-US" sz="1600" dirty="0">
                <a:latin typeface="+mn-lt"/>
              </a:rPr>
              <a:t>There was consensus on the </a:t>
            </a:r>
            <a:r>
              <a:rPr lang="en-US" sz="1600" b="1" dirty="0">
                <a:latin typeface="+mn-lt"/>
              </a:rPr>
              <a:t>need for practical AI training</a:t>
            </a:r>
            <a:r>
              <a:rPr lang="en-US" sz="1600" dirty="0">
                <a:latin typeface="+mn-lt"/>
              </a:rPr>
              <a:t> to address uneven adoption and skill levels across different regions.</a:t>
            </a:r>
          </a:p>
          <a:p>
            <a:pPr marL="285750" indent="-285750" algn="just">
              <a:buClr>
                <a:srgbClr val="C00000"/>
              </a:buClr>
              <a:buFont typeface="Wingdings" panose="05000000000000000000" pitchFamily="2" charset="2"/>
              <a:buChar char="§"/>
            </a:pPr>
            <a:r>
              <a:rPr lang="en-US" sz="1600" dirty="0">
                <a:latin typeface="+mn-lt"/>
              </a:rPr>
              <a:t>Many attendees emphasized the </a:t>
            </a:r>
            <a:r>
              <a:rPr lang="en-US" sz="1600" b="1" dirty="0">
                <a:latin typeface="+mn-lt"/>
              </a:rPr>
              <a:t>importance of starting with simple AI projects</a:t>
            </a:r>
            <a:r>
              <a:rPr lang="en-US" sz="1600" dirty="0">
                <a:latin typeface="+mn-lt"/>
              </a:rPr>
              <a:t> to gain experience and confidence before scaling up to complex initiatives.</a:t>
            </a:r>
          </a:p>
          <a:p>
            <a:pPr marL="285750" indent="-285750" algn="just">
              <a:buClr>
                <a:srgbClr val="C00000"/>
              </a:buClr>
              <a:buFont typeface="Wingdings" panose="05000000000000000000" pitchFamily="2" charset="2"/>
              <a:buChar char="§"/>
            </a:pPr>
            <a:r>
              <a:rPr lang="en-US" sz="1600" dirty="0">
                <a:latin typeface="+mn-lt"/>
              </a:rPr>
              <a:t>The MIT report stating that </a:t>
            </a:r>
            <a:r>
              <a:rPr lang="en-US" sz="1600" b="1" dirty="0">
                <a:latin typeface="+mn-lt"/>
              </a:rPr>
              <a:t>90–95% of GenAI projects fail</a:t>
            </a:r>
            <a:r>
              <a:rPr lang="en-US" sz="1600" dirty="0">
                <a:latin typeface="+mn-lt"/>
              </a:rPr>
              <a:t> sparked agreement. Main reasons discussed:</a:t>
            </a:r>
          </a:p>
          <a:p>
            <a:pPr marL="714375" lvl="1" indent="-342900" algn="just">
              <a:buClr>
                <a:srgbClr val="C00000"/>
              </a:buClr>
              <a:buFont typeface="Courier New" panose="02070309020205020404" pitchFamily="49" charset="0"/>
              <a:buChar char="o"/>
            </a:pPr>
            <a:r>
              <a:rPr lang="en-US" sz="1600" b="1" dirty="0">
                <a:latin typeface="+mn-lt"/>
              </a:rPr>
              <a:t>Unrealistic expectations</a:t>
            </a:r>
          </a:p>
          <a:p>
            <a:pPr marL="714375" lvl="1" indent="-342900" algn="just">
              <a:buClr>
                <a:srgbClr val="C00000"/>
              </a:buClr>
              <a:buFont typeface="Courier New" panose="02070309020205020404" pitchFamily="49" charset="0"/>
              <a:buChar char="o"/>
            </a:pPr>
            <a:r>
              <a:rPr lang="en-US" sz="1600" b="1" dirty="0">
                <a:latin typeface="+mn-lt"/>
              </a:rPr>
              <a:t>Short-term focus over long-term strategy</a:t>
            </a:r>
          </a:p>
          <a:p>
            <a:pPr marL="714375" lvl="1" indent="-342900" algn="just">
              <a:buClr>
                <a:srgbClr val="C00000"/>
              </a:buClr>
              <a:buFont typeface="Courier New" panose="02070309020205020404" pitchFamily="49" charset="0"/>
              <a:buChar char="o"/>
            </a:pPr>
            <a:r>
              <a:rPr lang="en-US" sz="1600" b="1" dirty="0">
                <a:latin typeface="+mn-lt"/>
              </a:rPr>
              <a:t>Lack of technical and governance readiness</a:t>
            </a:r>
            <a:endParaRPr lang="en-US" sz="1600" dirty="0">
              <a:latin typeface="+mn-lt"/>
            </a:endParaRPr>
          </a:p>
          <a:p>
            <a:pPr marL="285750" indent="-285750" algn="just">
              <a:buClr>
                <a:srgbClr val="C00000"/>
              </a:buClr>
              <a:buFont typeface="Wingdings" panose="05000000000000000000" pitchFamily="2" charset="2"/>
              <a:buChar char="§"/>
            </a:pPr>
            <a:r>
              <a:rPr lang="en-US" sz="1600" dirty="0">
                <a:latin typeface="+mn-lt"/>
              </a:rPr>
              <a:t>Differences in </a:t>
            </a:r>
            <a:r>
              <a:rPr lang="en-US" sz="1600" b="1" dirty="0">
                <a:latin typeface="+mn-lt"/>
              </a:rPr>
              <a:t>regional AI maturity</a:t>
            </a:r>
            <a:r>
              <a:rPr lang="en-US" sz="1600" dirty="0">
                <a:latin typeface="+mn-lt"/>
              </a:rPr>
              <a:t> were noted:</a:t>
            </a:r>
          </a:p>
          <a:p>
            <a:pPr marL="657225" lvl="1" indent="-285750" algn="just">
              <a:buClr>
                <a:srgbClr val="C00000"/>
              </a:buClr>
              <a:buFont typeface="Courier New" panose="02070309020205020404" pitchFamily="49" charset="0"/>
              <a:buChar char="o"/>
            </a:pPr>
            <a:r>
              <a:rPr lang="en-US" sz="1600" b="1" dirty="0">
                <a:latin typeface="+mn-lt"/>
              </a:rPr>
              <a:t>Spain</a:t>
            </a:r>
            <a:r>
              <a:rPr lang="en-US" sz="1600" dirty="0">
                <a:latin typeface="+mn-lt"/>
              </a:rPr>
              <a:t> is relatively more advanced.</a:t>
            </a:r>
          </a:p>
          <a:p>
            <a:pPr marL="657225" lvl="1" indent="-285750" algn="just">
              <a:buClr>
                <a:srgbClr val="C00000"/>
              </a:buClr>
              <a:buFont typeface="Courier New" panose="02070309020205020404" pitchFamily="49" charset="0"/>
              <a:buChar char="o"/>
            </a:pPr>
            <a:r>
              <a:rPr lang="en-US" sz="1600" b="1" dirty="0">
                <a:latin typeface="+mn-lt"/>
              </a:rPr>
              <a:t>Brazil’s</a:t>
            </a:r>
            <a:r>
              <a:rPr lang="en-US" sz="1600" dirty="0">
                <a:latin typeface="+mn-lt"/>
              </a:rPr>
              <a:t> </a:t>
            </a:r>
            <a:r>
              <a:rPr lang="en-US" sz="1600" dirty="0" err="1">
                <a:latin typeface="+mn-lt"/>
              </a:rPr>
              <a:t>fintechs</a:t>
            </a:r>
            <a:r>
              <a:rPr lang="en-US" sz="1600" dirty="0">
                <a:latin typeface="+mn-lt"/>
              </a:rPr>
              <a:t> are innovating rapidly, unlike larger institutions.</a:t>
            </a:r>
          </a:p>
          <a:p>
            <a:pPr marL="657225" lvl="1" indent="-285750" algn="just">
              <a:buClr>
                <a:srgbClr val="C00000"/>
              </a:buClr>
              <a:buFont typeface="Courier New" panose="02070309020205020404" pitchFamily="49" charset="0"/>
              <a:buChar char="o"/>
            </a:pPr>
            <a:r>
              <a:rPr lang="en-US" sz="1600" b="1" dirty="0">
                <a:latin typeface="+mn-lt"/>
              </a:rPr>
              <a:t>Mexico’s</a:t>
            </a:r>
            <a:r>
              <a:rPr lang="en-US" sz="1600" dirty="0">
                <a:latin typeface="+mn-lt"/>
              </a:rPr>
              <a:t> adoption is still in early stages, often constrained by available tools.</a:t>
            </a:r>
          </a:p>
          <a:p>
            <a:pPr marL="285750" indent="-285750" algn="just">
              <a:buClr>
                <a:srgbClr val="C00000"/>
              </a:buClr>
              <a:buFont typeface="Wingdings" panose="05000000000000000000" pitchFamily="2" charset="2"/>
              <a:buChar char="§"/>
            </a:pPr>
            <a:r>
              <a:rPr lang="en-US" sz="1600" dirty="0">
                <a:latin typeface="+mn-lt"/>
              </a:rPr>
              <a:t>Structural limitations of being part of a large bank (e.g., compliance, security) can </a:t>
            </a:r>
            <a:r>
              <a:rPr lang="en-US" sz="1600" b="1" dirty="0">
                <a:latin typeface="+mn-lt"/>
              </a:rPr>
              <a:t>slow down AI innovation</a:t>
            </a:r>
            <a:r>
              <a:rPr lang="en-US" sz="1600" dirty="0">
                <a:latin typeface="+mn-lt"/>
              </a:rPr>
              <a:t>, but also bring resources and stability.</a:t>
            </a:r>
          </a:p>
        </p:txBody>
      </p:sp>
    </p:spTree>
    <p:extLst>
      <p:ext uri="{BB962C8B-B14F-4D97-AF65-F5344CB8AC3E}">
        <p14:creationId xmlns:p14="http://schemas.microsoft.com/office/powerpoint/2010/main" val="2523228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EDE5D3-252F-6902-7998-6B36749B2AD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B7B5DC1-1D0F-86F9-38C9-D0D374176BF8}"/>
              </a:ext>
            </a:extLst>
          </p:cNvPr>
          <p:cNvSpPr>
            <a:spLocks noGrp="1"/>
          </p:cNvSpPr>
          <p:nvPr>
            <p:ph type="ctrTitle"/>
          </p:nvPr>
        </p:nvSpPr>
        <p:spPr>
          <a:xfrm>
            <a:off x="439259" y="939173"/>
            <a:ext cx="11309829" cy="740981"/>
          </a:xfrm>
        </p:spPr>
        <p:txBody>
          <a:bodyPr/>
          <a:lstStyle/>
          <a:p>
            <a:pPr algn="just"/>
            <a:r>
              <a:rPr lang="en-US" dirty="0"/>
              <a:t>4) Takeaways (II)</a:t>
            </a:r>
          </a:p>
        </p:txBody>
      </p:sp>
      <p:sp>
        <p:nvSpPr>
          <p:cNvPr id="6" name="Marcador de texto 4">
            <a:extLst>
              <a:ext uri="{FF2B5EF4-FFF2-40B4-BE49-F238E27FC236}">
                <a16:creationId xmlns:a16="http://schemas.microsoft.com/office/drawing/2014/main" id="{40D946A2-1DF1-7FB6-2870-3D1FF6982A53}"/>
              </a:ext>
            </a:extLst>
          </p:cNvPr>
          <p:cNvSpPr txBox="1">
            <a:spLocks/>
          </p:cNvSpPr>
          <p:nvPr/>
        </p:nvSpPr>
        <p:spPr>
          <a:xfrm>
            <a:off x="439259" y="1508034"/>
            <a:ext cx="11309829"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General discussions</a:t>
            </a:r>
            <a:endParaRPr lang="en-US" sz="1800" dirty="0">
              <a:latin typeface="+mn-lt"/>
            </a:endParaRPr>
          </a:p>
          <a:p>
            <a:pPr marL="285750" indent="-285750" algn="just">
              <a:buClr>
                <a:srgbClr val="C00000"/>
              </a:buClr>
              <a:buFont typeface="Wingdings" panose="05000000000000000000" pitchFamily="2" charset="2"/>
              <a:buChar char="§"/>
            </a:pPr>
            <a:r>
              <a:rPr lang="en-US" sz="1600" dirty="0">
                <a:latin typeface="+mn-lt"/>
              </a:rPr>
              <a:t>Interest was shown in </a:t>
            </a:r>
            <a:r>
              <a:rPr lang="en-US" sz="1600" b="1" dirty="0">
                <a:latin typeface="+mn-lt"/>
              </a:rPr>
              <a:t>sharing AI tools and GPTs</a:t>
            </a:r>
            <a:r>
              <a:rPr lang="en-US" sz="1600" dirty="0">
                <a:latin typeface="+mn-lt"/>
              </a:rPr>
              <a:t> developed in different teams to avoid duplication and accelerate collective progress.</a:t>
            </a:r>
          </a:p>
          <a:p>
            <a:pPr marL="285750" indent="-285750" algn="just">
              <a:buClr>
                <a:srgbClr val="C00000"/>
              </a:buClr>
              <a:buFont typeface="Wingdings" panose="05000000000000000000" pitchFamily="2" charset="2"/>
              <a:buChar char="§"/>
            </a:pPr>
            <a:r>
              <a:rPr lang="en-US" sz="1600" b="1" dirty="0">
                <a:latin typeface="+mn-lt"/>
              </a:rPr>
              <a:t>Sustainability in AI </a:t>
            </a:r>
            <a:r>
              <a:rPr lang="en-US" sz="1600" dirty="0">
                <a:latin typeface="+mn-lt"/>
              </a:rPr>
              <a:t>(energy, emissions, water use) is becoming a </a:t>
            </a:r>
            <a:r>
              <a:rPr lang="en-US" sz="1600" b="1" dirty="0">
                <a:latin typeface="+mn-lt"/>
              </a:rPr>
              <a:t>key topic</a:t>
            </a:r>
            <a:r>
              <a:rPr lang="en-US" sz="1600" dirty="0">
                <a:latin typeface="+mn-lt"/>
              </a:rPr>
              <a:t>, with contrasting approaches by Mistral (audited) and Google (self-reported).</a:t>
            </a:r>
          </a:p>
          <a:p>
            <a:pPr marL="285750" indent="-285750" algn="just">
              <a:buClr>
                <a:srgbClr val="C00000"/>
              </a:buClr>
              <a:buFont typeface="Wingdings" panose="05000000000000000000" pitchFamily="2" charset="2"/>
              <a:buChar char="§"/>
            </a:pPr>
            <a:r>
              <a:rPr lang="en-US" sz="1600" dirty="0">
                <a:latin typeface="+mn-lt"/>
              </a:rPr>
              <a:t>OpenAI’s admission about </a:t>
            </a:r>
            <a:r>
              <a:rPr lang="en-US" sz="1600" b="1" dirty="0">
                <a:latin typeface="+mn-lt"/>
              </a:rPr>
              <a:t>hallucinations being incentivized</a:t>
            </a:r>
            <a:r>
              <a:rPr lang="en-US" sz="1600" dirty="0">
                <a:latin typeface="+mn-lt"/>
              </a:rPr>
              <a:t> by benchmark systems led to reflections on the </a:t>
            </a:r>
            <a:r>
              <a:rPr lang="en-US" sz="1600" b="1" dirty="0">
                <a:latin typeface="+mn-lt"/>
              </a:rPr>
              <a:t>need to redesign evaluation frameworks.</a:t>
            </a:r>
            <a:endParaRPr lang="en-US" sz="1600" dirty="0">
              <a:latin typeface="+mn-lt"/>
            </a:endParaRPr>
          </a:p>
          <a:p>
            <a:pPr marL="285750" indent="-285750" algn="just">
              <a:buClr>
                <a:srgbClr val="C00000"/>
              </a:buClr>
              <a:buFont typeface="Wingdings" panose="05000000000000000000" pitchFamily="2" charset="2"/>
              <a:buChar char="§"/>
            </a:pPr>
            <a:r>
              <a:rPr lang="en-US" sz="1600" dirty="0">
                <a:latin typeface="+mn-lt"/>
              </a:rPr>
              <a:t>The </a:t>
            </a:r>
            <a:r>
              <a:rPr lang="en-US" sz="1600" b="1" dirty="0">
                <a:latin typeface="+mn-lt"/>
              </a:rPr>
              <a:t>Latin GPT initiative</a:t>
            </a:r>
            <a:r>
              <a:rPr lang="en-US" sz="1600" dirty="0">
                <a:latin typeface="+mn-lt"/>
              </a:rPr>
              <a:t> from Chile was seen as promising for use in regional applications due to cultural and language alignment.</a:t>
            </a:r>
          </a:p>
        </p:txBody>
      </p:sp>
    </p:spTree>
    <p:extLst>
      <p:ext uri="{BB962C8B-B14F-4D97-AF65-F5344CB8AC3E}">
        <p14:creationId xmlns:p14="http://schemas.microsoft.com/office/powerpoint/2010/main" val="18071836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C498B3-4BF2-E73F-61A1-A9D92BF96060}"/>
              </a:ext>
            </a:extLst>
          </p:cNvPr>
          <p:cNvSpPr>
            <a:spLocks noGrp="1"/>
          </p:cNvSpPr>
          <p:nvPr>
            <p:ph type="body" sz="quarter" idx="49"/>
          </p:nvPr>
        </p:nvSpPr>
        <p:spPr/>
        <p:txBody>
          <a:bodyPr/>
          <a:lstStyle/>
          <a:p>
            <a:r>
              <a:rPr lang="en-US"/>
              <a:t>Thank you</a:t>
            </a:r>
          </a:p>
        </p:txBody>
      </p:sp>
      <p:sp>
        <p:nvSpPr>
          <p:cNvPr id="3" name="Text Placeholder 2">
            <a:extLst>
              <a:ext uri="{FF2B5EF4-FFF2-40B4-BE49-F238E27FC236}">
                <a16:creationId xmlns:a16="http://schemas.microsoft.com/office/drawing/2014/main" id="{3B1AB47A-DE23-85CC-99F4-05D43026BAC9}"/>
              </a:ext>
            </a:extLst>
          </p:cNvPr>
          <p:cNvSpPr>
            <a:spLocks noGrp="1"/>
          </p:cNvSpPr>
          <p:nvPr>
            <p:ph type="body" sz="quarter" idx="50"/>
          </p:nvPr>
        </p:nvSpPr>
        <p:spPr/>
        <p:txBody>
          <a:bodyPr/>
          <a:lstStyle/>
          <a:p>
            <a:r>
              <a:rPr lang="es-ES" dirty="0"/>
              <a:t>Gracias</a:t>
            </a:r>
          </a:p>
        </p:txBody>
      </p:sp>
    </p:spTree>
    <p:extLst>
      <p:ext uri="{BB962C8B-B14F-4D97-AF65-F5344CB8AC3E}">
        <p14:creationId xmlns:p14="http://schemas.microsoft.com/office/powerpoint/2010/main" val="368251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80118-643A-E702-111F-A738075B622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175E9BF-D1B2-9907-CED2-A77CA4C8D84B}"/>
              </a:ext>
            </a:extLst>
          </p:cNvPr>
          <p:cNvSpPr>
            <a:spLocks noGrp="1"/>
          </p:cNvSpPr>
          <p:nvPr>
            <p:ph type="ctrTitle"/>
          </p:nvPr>
        </p:nvSpPr>
        <p:spPr>
          <a:xfrm>
            <a:off x="439259" y="939173"/>
            <a:ext cx="11309829" cy="740981"/>
          </a:xfrm>
        </p:spPr>
        <p:txBody>
          <a:bodyPr/>
          <a:lstStyle/>
          <a:p>
            <a:pPr algn="just"/>
            <a:r>
              <a:rPr lang="en-US" dirty="0"/>
              <a:t>1) Survey (I)</a:t>
            </a:r>
          </a:p>
        </p:txBody>
      </p:sp>
      <p:pic>
        <p:nvPicPr>
          <p:cNvPr id="4" name="Imagen 3">
            <a:extLst>
              <a:ext uri="{FF2B5EF4-FFF2-40B4-BE49-F238E27FC236}">
                <a16:creationId xmlns:a16="http://schemas.microsoft.com/office/drawing/2014/main" id="{74D4CBA3-C19A-6895-4926-E6F6F9CEEA2B}"/>
              </a:ext>
            </a:extLst>
          </p:cNvPr>
          <p:cNvPicPr>
            <a:picLocks noChangeAspect="1"/>
          </p:cNvPicPr>
          <p:nvPr/>
        </p:nvPicPr>
        <p:blipFill>
          <a:blip r:embed="rId3"/>
          <a:srcRect r="12106"/>
          <a:stretch>
            <a:fillRect/>
          </a:stretch>
        </p:blipFill>
        <p:spPr>
          <a:xfrm>
            <a:off x="439259" y="1632281"/>
            <a:ext cx="3955968" cy="1911019"/>
          </a:xfrm>
          <a:prstGeom prst="rect">
            <a:avLst/>
          </a:prstGeom>
        </p:spPr>
      </p:pic>
      <p:pic>
        <p:nvPicPr>
          <p:cNvPr id="6" name="Imagen 5">
            <a:extLst>
              <a:ext uri="{FF2B5EF4-FFF2-40B4-BE49-F238E27FC236}">
                <a16:creationId xmlns:a16="http://schemas.microsoft.com/office/drawing/2014/main" id="{AB690722-E132-F5D4-4636-B32D2DAF3FAD}"/>
              </a:ext>
            </a:extLst>
          </p:cNvPr>
          <p:cNvPicPr>
            <a:picLocks noChangeAspect="1"/>
          </p:cNvPicPr>
          <p:nvPr/>
        </p:nvPicPr>
        <p:blipFill>
          <a:blip r:embed="rId4"/>
          <a:srcRect r="11526"/>
          <a:stretch>
            <a:fillRect/>
          </a:stretch>
        </p:blipFill>
        <p:spPr>
          <a:xfrm>
            <a:off x="5588083" y="1632281"/>
            <a:ext cx="3955968" cy="2021695"/>
          </a:xfrm>
          <a:prstGeom prst="rect">
            <a:avLst/>
          </a:prstGeom>
        </p:spPr>
      </p:pic>
      <p:grpSp>
        <p:nvGrpSpPr>
          <p:cNvPr id="14" name="Grupo 13">
            <a:extLst>
              <a:ext uri="{FF2B5EF4-FFF2-40B4-BE49-F238E27FC236}">
                <a16:creationId xmlns:a16="http://schemas.microsoft.com/office/drawing/2014/main" id="{A6CAA83E-35C9-BAF5-AA50-DBD7863FC1BD}"/>
              </a:ext>
            </a:extLst>
          </p:cNvPr>
          <p:cNvGrpSpPr/>
          <p:nvPr/>
        </p:nvGrpSpPr>
        <p:grpSpPr>
          <a:xfrm>
            <a:off x="439259" y="3990974"/>
            <a:ext cx="4742341" cy="2353725"/>
            <a:chOff x="439259" y="3990974"/>
            <a:chExt cx="4742341" cy="2353725"/>
          </a:xfrm>
        </p:grpSpPr>
        <p:pic>
          <p:nvPicPr>
            <p:cNvPr id="8" name="Imagen 7">
              <a:extLst>
                <a:ext uri="{FF2B5EF4-FFF2-40B4-BE49-F238E27FC236}">
                  <a16:creationId xmlns:a16="http://schemas.microsoft.com/office/drawing/2014/main" id="{328DACEB-DB0E-7BA6-EF2A-7F02D9CC4429}"/>
                </a:ext>
              </a:extLst>
            </p:cNvPr>
            <p:cNvPicPr>
              <a:picLocks noChangeAspect="1"/>
            </p:cNvPicPr>
            <p:nvPr/>
          </p:nvPicPr>
          <p:blipFill>
            <a:blip r:embed="rId5"/>
            <a:stretch>
              <a:fillRect/>
            </a:stretch>
          </p:blipFill>
          <p:spPr>
            <a:xfrm>
              <a:off x="439259" y="3990974"/>
              <a:ext cx="4478718" cy="2353725"/>
            </a:xfrm>
            <a:prstGeom prst="rect">
              <a:avLst/>
            </a:prstGeom>
          </p:spPr>
        </p:pic>
        <p:sp>
          <p:nvSpPr>
            <p:cNvPr id="13" name="Rectángulo 12">
              <a:extLst>
                <a:ext uri="{FF2B5EF4-FFF2-40B4-BE49-F238E27FC236}">
                  <a16:creationId xmlns:a16="http://schemas.microsoft.com/office/drawing/2014/main" id="{D0CFDC5D-5D54-9ECE-856C-6EEA1CC0216D}"/>
                </a:ext>
              </a:extLst>
            </p:cNvPr>
            <p:cNvSpPr/>
            <p:nvPr/>
          </p:nvSpPr>
          <p:spPr>
            <a:xfrm>
              <a:off x="4395227" y="4200525"/>
              <a:ext cx="786373" cy="266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extLst>
      <p:ext uri="{BB962C8B-B14F-4D97-AF65-F5344CB8AC3E}">
        <p14:creationId xmlns:p14="http://schemas.microsoft.com/office/powerpoint/2010/main" val="2428685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3CE33-0EE2-D91B-F8EF-BF7D7FA4F6A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D8DECDF2-E157-ECF6-64F6-9598B2BF59CC}"/>
              </a:ext>
            </a:extLst>
          </p:cNvPr>
          <p:cNvSpPr>
            <a:spLocks noGrp="1"/>
          </p:cNvSpPr>
          <p:nvPr>
            <p:ph type="ctrTitle"/>
          </p:nvPr>
        </p:nvSpPr>
        <p:spPr>
          <a:xfrm>
            <a:off x="439259" y="939173"/>
            <a:ext cx="11309829" cy="740981"/>
          </a:xfrm>
        </p:spPr>
        <p:txBody>
          <a:bodyPr/>
          <a:lstStyle/>
          <a:p>
            <a:pPr algn="just"/>
            <a:r>
              <a:rPr lang="en-US" dirty="0"/>
              <a:t>1) Survey (II)</a:t>
            </a:r>
          </a:p>
        </p:txBody>
      </p:sp>
      <p:pic>
        <p:nvPicPr>
          <p:cNvPr id="10" name="Imagen 9">
            <a:extLst>
              <a:ext uri="{FF2B5EF4-FFF2-40B4-BE49-F238E27FC236}">
                <a16:creationId xmlns:a16="http://schemas.microsoft.com/office/drawing/2014/main" id="{7D45512D-8B67-BBF7-7CAD-2F53BEFE25F2}"/>
              </a:ext>
            </a:extLst>
          </p:cNvPr>
          <p:cNvPicPr>
            <a:picLocks noChangeAspect="1"/>
          </p:cNvPicPr>
          <p:nvPr/>
        </p:nvPicPr>
        <p:blipFill>
          <a:blip r:embed="rId3"/>
          <a:srcRect r="9422"/>
          <a:stretch>
            <a:fillRect/>
          </a:stretch>
        </p:blipFill>
        <p:spPr>
          <a:xfrm>
            <a:off x="439259" y="1628559"/>
            <a:ext cx="5580541" cy="1925775"/>
          </a:xfrm>
          <a:prstGeom prst="rect">
            <a:avLst/>
          </a:prstGeom>
        </p:spPr>
      </p:pic>
      <p:sp>
        <p:nvSpPr>
          <p:cNvPr id="11" name="CuadroTexto 10">
            <a:extLst>
              <a:ext uri="{FF2B5EF4-FFF2-40B4-BE49-F238E27FC236}">
                <a16:creationId xmlns:a16="http://schemas.microsoft.com/office/drawing/2014/main" id="{C2F143EA-511F-7514-9A2F-33F470E9354D}"/>
              </a:ext>
            </a:extLst>
          </p:cNvPr>
          <p:cNvSpPr txBox="1"/>
          <p:nvPr/>
        </p:nvSpPr>
        <p:spPr>
          <a:xfrm>
            <a:off x="439259" y="3763892"/>
            <a:ext cx="11219342"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5. If 'Other' is selected, please write your thoughts.</a:t>
            </a:r>
            <a:endParaRPr lang="es-ES" sz="1400" b="1" dirty="0">
              <a:latin typeface="Santander Text" panose="020B0504020201020104" pitchFamily="34" charset="0"/>
            </a:endParaRPr>
          </a:p>
        </p:txBody>
      </p:sp>
      <p:sp>
        <p:nvSpPr>
          <p:cNvPr id="12" name="CuadroTexto 11">
            <a:extLst>
              <a:ext uri="{FF2B5EF4-FFF2-40B4-BE49-F238E27FC236}">
                <a16:creationId xmlns:a16="http://schemas.microsoft.com/office/drawing/2014/main" id="{35CC4608-95DC-5173-BAEE-088B919F4A04}"/>
              </a:ext>
            </a:extLst>
          </p:cNvPr>
          <p:cNvSpPr txBox="1"/>
          <p:nvPr/>
        </p:nvSpPr>
        <p:spPr>
          <a:xfrm>
            <a:off x="439260" y="4128095"/>
            <a:ext cx="11219342" cy="2631490"/>
          </a:xfrm>
          <a:prstGeom prst="rect">
            <a:avLst/>
          </a:prstGeom>
          <a:noFill/>
        </p:spPr>
        <p:txBody>
          <a:bodyPr wrap="square">
            <a:spAutoFit/>
          </a:bodyPr>
          <a:lstStyle/>
          <a:p>
            <a:pPr algn="just">
              <a:spcAft>
                <a:spcPts val="600"/>
              </a:spcAft>
            </a:pPr>
            <a:r>
              <a:rPr lang="en-US" sz="1400" i="0" dirty="0">
                <a:solidFill>
                  <a:srgbClr val="C00000"/>
                </a:solidFill>
                <a:effectLst/>
              </a:rPr>
              <a:t>Answers</a:t>
            </a:r>
          </a:p>
          <a:p>
            <a:pPr marL="285750" indent="-285750" algn="just">
              <a:spcAft>
                <a:spcPts val="600"/>
              </a:spcAft>
              <a:buFont typeface="Wingdings" panose="05000000000000000000" pitchFamily="2" charset="2"/>
              <a:buChar char="§"/>
            </a:pPr>
            <a:r>
              <a:rPr lang="en-US" sz="1400" i="0" dirty="0">
                <a:solidFill>
                  <a:srgbClr val="212121"/>
                </a:solidFill>
                <a:effectLst/>
              </a:rPr>
              <a:t>Tech stack and infrastructure not planned accordingly.</a:t>
            </a:r>
          </a:p>
          <a:p>
            <a:pPr marL="285750" indent="-285750" algn="just">
              <a:spcAft>
                <a:spcPts val="600"/>
              </a:spcAft>
              <a:buFont typeface="Wingdings" panose="05000000000000000000" pitchFamily="2" charset="2"/>
              <a:buChar char="§"/>
            </a:pPr>
            <a:r>
              <a:rPr lang="en-US" sz="1400" dirty="0"/>
              <a:t>Profit is always measured in financial terms, rather than in terms of time. The latter allows for longer-term improvements.</a:t>
            </a:r>
          </a:p>
          <a:p>
            <a:pPr marL="285750" indent="-285750" algn="just">
              <a:spcAft>
                <a:spcPts val="600"/>
              </a:spcAft>
              <a:buFont typeface="Wingdings" panose="05000000000000000000" pitchFamily="2" charset="2"/>
              <a:buChar char="§"/>
            </a:pPr>
            <a:r>
              <a:rPr lang="en-US" sz="1400" dirty="0"/>
              <a:t>AI adoption and complex agent design/usage remains early stage, this will come with time not in a big bang.</a:t>
            </a:r>
          </a:p>
          <a:p>
            <a:pPr marL="285750" indent="-285750" algn="just">
              <a:spcAft>
                <a:spcPts val="600"/>
              </a:spcAft>
              <a:buFont typeface="Wingdings" panose="05000000000000000000" pitchFamily="2" charset="2"/>
              <a:buChar char="§"/>
            </a:pPr>
            <a:r>
              <a:rPr lang="en-US" sz="1400" dirty="0"/>
              <a:t>Maybe people are setting too high expectations in the beginning or starting with overly complex projects, instead of simpler ones.</a:t>
            </a:r>
          </a:p>
          <a:p>
            <a:pPr marL="285750" indent="-285750" algn="just">
              <a:spcAft>
                <a:spcPts val="600"/>
              </a:spcAft>
              <a:buFont typeface="Wingdings" panose="05000000000000000000" pitchFamily="2" charset="2"/>
              <a:buChar char="§"/>
            </a:pPr>
            <a:r>
              <a:rPr lang="en-US" sz="1400" dirty="0"/>
              <a:t>Essentially, we have a new (and very powerful) tool whose capabilities and applications are far from fully understood. So, many companies are trying to figure that out by trial and error (very fast, if possible) to not fall behind. Obviously, this approach often translates into a lot of "misses" that could be traced, for instance, to wrong/precipitated business decisions, (very) high implementation and operational challenges and/or models' miscomprehension. In my opinion, that this is not particularly wrong. It is just a matter of balancing trade offs during this phase of the IA learning curve.</a:t>
            </a:r>
          </a:p>
        </p:txBody>
      </p:sp>
    </p:spTree>
    <p:extLst>
      <p:ext uri="{BB962C8B-B14F-4D97-AF65-F5344CB8AC3E}">
        <p14:creationId xmlns:p14="http://schemas.microsoft.com/office/powerpoint/2010/main" val="441788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64A3E7-042A-F789-9B22-762C7463093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C303B3E-B251-B285-B9BC-7B2F1E7F6368}"/>
              </a:ext>
            </a:extLst>
          </p:cNvPr>
          <p:cNvSpPr>
            <a:spLocks noGrp="1"/>
          </p:cNvSpPr>
          <p:nvPr>
            <p:ph type="ctrTitle"/>
          </p:nvPr>
        </p:nvSpPr>
        <p:spPr>
          <a:xfrm>
            <a:off x="439259" y="939173"/>
            <a:ext cx="11309829" cy="740981"/>
          </a:xfrm>
        </p:spPr>
        <p:txBody>
          <a:bodyPr/>
          <a:lstStyle/>
          <a:p>
            <a:pPr algn="just"/>
            <a:r>
              <a:rPr lang="en-US" dirty="0"/>
              <a:t>1) Survey (I)</a:t>
            </a:r>
          </a:p>
        </p:txBody>
      </p:sp>
      <p:pic>
        <p:nvPicPr>
          <p:cNvPr id="5" name="Imagen 4">
            <a:extLst>
              <a:ext uri="{FF2B5EF4-FFF2-40B4-BE49-F238E27FC236}">
                <a16:creationId xmlns:a16="http://schemas.microsoft.com/office/drawing/2014/main" id="{6286862D-B47F-9C9C-DB2B-E18346F3B7A1}"/>
              </a:ext>
            </a:extLst>
          </p:cNvPr>
          <p:cNvPicPr>
            <a:picLocks noChangeAspect="1"/>
          </p:cNvPicPr>
          <p:nvPr/>
        </p:nvPicPr>
        <p:blipFill>
          <a:blip r:embed="rId3"/>
          <a:srcRect r="10684"/>
          <a:stretch>
            <a:fillRect/>
          </a:stretch>
        </p:blipFill>
        <p:spPr>
          <a:xfrm>
            <a:off x="439260" y="1583699"/>
            <a:ext cx="5494816" cy="2664920"/>
          </a:xfrm>
          <a:prstGeom prst="rect">
            <a:avLst/>
          </a:prstGeom>
        </p:spPr>
      </p:pic>
      <p:pic>
        <p:nvPicPr>
          <p:cNvPr id="9" name="Imagen 8">
            <a:extLst>
              <a:ext uri="{FF2B5EF4-FFF2-40B4-BE49-F238E27FC236}">
                <a16:creationId xmlns:a16="http://schemas.microsoft.com/office/drawing/2014/main" id="{20707730-3B0E-8957-191A-74D5FE9668C3}"/>
              </a:ext>
            </a:extLst>
          </p:cNvPr>
          <p:cNvPicPr>
            <a:picLocks noChangeAspect="1"/>
          </p:cNvPicPr>
          <p:nvPr/>
        </p:nvPicPr>
        <p:blipFill>
          <a:blip r:embed="rId4"/>
          <a:srcRect r="11832"/>
          <a:stretch>
            <a:fillRect/>
          </a:stretch>
        </p:blipFill>
        <p:spPr>
          <a:xfrm>
            <a:off x="6257926" y="1578973"/>
            <a:ext cx="5365886" cy="1850027"/>
          </a:xfrm>
          <a:prstGeom prst="rect">
            <a:avLst/>
          </a:prstGeom>
        </p:spPr>
      </p:pic>
      <p:sp>
        <p:nvSpPr>
          <p:cNvPr id="11" name="CuadroTexto 10">
            <a:extLst>
              <a:ext uri="{FF2B5EF4-FFF2-40B4-BE49-F238E27FC236}">
                <a16:creationId xmlns:a16="http://schemas.microsoft.com/office/drawing/2014/main" id="{98739FC6-534D-55D6-37CA-2431ECA01111}"/>
              </a:ext>
            </a:extLst>
          </p:cNvPr>
          <p:cNvSpPr txBox="1"/>
          <p:nvPr/>
        </p:nvSpPr>
        <p:spPr>
          <a:xfrm>
            <a:off x="439259" y="4516367"/>
            <a:ext cx="11219342" cy="307777"/>
          </a:xfrm>
          <a:prstGeom prst="rect">
            <a:avLst/>
          </a:prstGeom>
          <a:noFill/>
        </p:spPr>
        <p:txBody>
          <a:bodyPr wrap="square">
            <a:spAutoFit/>
          </a:bodyPr>
          <a:lstStyle/>
          <a:p>
            <a:pPr algn="just"/>
            <a:r>
              <a:rPr lang="en-US" sz="1400" b="1" dirty="0">
                <a:solidFill>
                  <a:srgbClr val="212121"/>
                </a:solidFill>
                <a:latin typeface="Santander Text" panose="020B0504020201020104" pitchFamily="34" charset="0"/>
              </a:rPr>
              <a:t>7</a:t>
            </a:r>
            <a:r>
              <a:rPr lang="en-US" sz="1400" b="1" i="0" dirty="0">
                <a:solidFill>
                  <a:srgbClr val="212121"/>
                </a:solidFill>
                <a:effectLst/>
                <a:latin typeface="Santander Text" panose="020B0504020201020104" pitchFamily="34" charset="0"/>
              </a:rPr>
              <a:t>. If 'Other' is selected, please write your thoughts.</a:t>
            </a:r>
            <a:endParaRPr lang="es-ES" sz="1400" b="1" dirty="0">
              <a:latin typeface="Santander Text" panose="020B0504020201020104" pitchFamily="34" charset="0"/>
            </a:endParaRPr>
          </a:p>
        </p:txBody>
      </p:sp>
      <p:sp>
        <p:nvSpPr>
          <p:cNvPr id="12" name="CuadroTexto 11">
            <a:extLst>
              <a:ext uri="{FF2B5EF4-FFF2-40B4-BE49-F238E27FC236}">
                <a16:creationId xmlns:a16="http://schemas.microsoft.com/office/drawing/2014/main" id="{46D347F6-BE4A-1A6C-62B8-DAE23712597A}"/>
              </a:ext>
            </a:extLst>
          </p:cNvPr>
          <p:cNvSpPr txBox="1"/>
          <p:nvPr/>
        </p:nvSpPr>
        <p:spPr>
          <a:xfrm>
            <a:off x="439260" y="4880570"/>
            <a:ext cx="11219342" cy="600164"/>
          </a:xfrm>
          <a:prstGeom prst="rect">
            <a:avLst/>
          </a:prstGeom>
          <a:noFill/>
        </p:spPr>
        <p:txBody>
          <a:bodyPr wrap="square">
            <a:spAutoFit/>
          </a:bodyPr>
          <a:lstStyle/>
          <a:p>
            <a:pPr algn="just">
              <a:spcAft>
                <a:spcPts val="600"/>
              </a:spcAft>
            </a:pPr>
            <a:r>
              <a:rPr lang="en-US" sz="1400" i="0" dirty="0">
                <a:solidFill>
                  <a:srgbClr val="C00000"/>
                </a:solidFill>
                <a:effectLst/>
              </a:rPr>
              <a:t>Answers</a:t>
            </a:r>
          </a:p>
          <a:p>
            <a:pPr marL="285750" indent="-285750" algn="just">
              <a:spcAft>
                <a:spcPts val="600"/>
              </a:spcAft>
              <a:buFont typeface="Wingdings" panose="05000000000000000000" pitchFamily="2" charset="2"/>
              <a:buChar char="§"/>
            </a:pPr>
            <a:r>
              <a:rPr lang="en-US" sz="1400" i="0" dirty="0">
                <a:solidFill>
                  <a:srgbClr val="212121"/>
                </a:solidFill>
                <a:effectLst/>
              </a:rPr>
              <a:t>Augmentation (i.e., not only improve productivity but also expand the universe/scope of markets, activities, and tasks performed).</a:t>
            </a:r>
          </a:p>
        </p:txBody>
      </p:sp>
    </p:spTree>
    <p:extLst>
      <p:ext uri="{BB962C8B-B14F-4D97-AF65-F5344CB8AC3E}">
        <p14:creationId xmlns:p14="http://schemas.microsoft.com/office/powerpoint/2010/main" val="426819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FFEC9-D977-73FD-F030-ECB651C9CF3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A3A3BAC-8B63-FE88-8EBA-55E23E04DF68}"/>
              </a:ext>
            </a:extLst>
          </p:cNvPr>
          <p:cNvSpPr>
            <a:spLocks noGrp="1"/>
          </p:cNvSpPr>
          <p:nvPr>
            <p:ph type="ctrTitle"/>
          </p:nvPr>
        </p:nvSpPr>
        <p:spPr>
          <a:xfrm>
            <a:off x="439259" y="939173"/>
            <a:ext cx="11309829" cy="740981"/>
          </a:xfrm>
        </p:spPr>
        <p:txBody>
          <a:bodyPr/>
          <a:lstStyle/>
          <a:p>
            <a:pPr algn="just"/>
            <a:r>
              <a:rPr lang="en-US" dirty="0"/>
              <a:t>1) Survey (II)</a:t>
            </a:r>
          </a:p>
        </p:txBody>
      </p:sp>
      <p:sp>
        <p:nvSpPr>
          <p:cNvPr id="13" name="CuadroTexto 12">
            <a:extLst>
              <a:ext uri="{FF2B5EF4-FFF2-40B4-BE49-F238E27FC236}">
                <a16:creationId xmlns:a16="http://schemas.microsoft.com/office/drawing/2014/main" id="{F4C15732-3FC0-91F0-9D75-F7CE7BC43971}"/>
              </a:ext>
            </a:extLst>
          </p:cNvPr>
          <p:cNvSpPr txBox="1"/>
          <p:nvPr/>
        </p:nvSpPr>
        <p:spPr>
          <a:xfrm>
            <a:off x="439258" y="1418544"/>
            <a:ext cx="10381141"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Can you think of any idea, project, or exploratory path that we could evaluate or develop within SAM based on these advances?</a:t>
            </a:r>
          </a:p>
        </p:txBody>
      </p:sp>
      <p:sp>
        <p:nvSpPr>
          <p:cNvPr id="14" name="CuadroTexto 13">
            <a:extLst>
              <a:ext uri="{FF2B5EF4-FFF2-40B4-BE49-F238E27FC236}">
                <a16:creationId xmlns:a16="http://schemas.microsoft.com/office/drawing/2014/main" id="{B465FE55-FE87-88F2-6FBC-96F1929EF897}"/>
              </a:ext>
            </a:extLst>
          </p:cNvPr>
          <p:cNvSpPr txBox="1"/>
          <p:nvPr/>
        </p:nvSpPr>
        <p:spPr>
          <a:xfrm>
            <a:off x="439258" y="1773842"/>
            <a:ext cx="11062460" cy="1400383"/>
          </a:xfrm>
          <a:prstGeom prst="rect">
            <a:avLst/>
          </a:prstGeom>
          <a:noFill/>
        </p:spPr>
        <p:txBody>
          <a:bodyPr wrap="square">
            <a:spAutoFit/>
          </a:bodyPr>
          <a:lstStyle/>
          <a:p>
            <a:pPr algn="just">
              <a:spcAft>
                <a:spcPts val="600"/>
              </a:spcAft>
            </a:pPr>
            <a:r>
              <a:rPr lang="en-US" sz="1400" dirty="0">
                <a:solidFill>
                  <a:srgbClr val="C00000"/>
                </a:solidFill>
              </a:rPr>
              <a:t>Answers</a:t>
            </a:r>
          </a:p>
          <a:p>
            <a:pPr marL="285750" indent="-285750" algn="just">
              <a:spcAft>
                <a:spcPts val="600"/>
              </a:spcAft>
              <a:buFont typeface="Wingdings" panose="05000000000000000000" pitchFamily="2" charset="2"/>
              <a:buChar char="§"/>
            </a:pPr>
            <a:r>
              <a:rPr lang="en-US" sz="1400" dirty="0"/>
              <a:t>I think we could map out the initiatives that are being developed around the use of ChatGPT and the creation of AI/GPT agents and then set up multidisciplinary and cross-country groups to accelerate this development.</a:t>
            </a:r>
          </a:p>
          <a:p>
            <a:pPr marL="285750" indent="-285750" algn="just">
              <a:spcAft>
                <a:spcPts val="600"/>
              </a:spcAft>
              <a:buFont typeface="Wingdings" panose="05000000000000000000" pitchFamily="2" charset="2"/>
              <a:buChar char="§"/>
            </a:pPr>
            <a:r>
              <a:rPr lang="en-US" sz="1400" dirty="0"/>
              <a:t>Many ideas but a API-based AI tooling is needed.</a:t>
            </a:r>
          </a:p>
          <a:p>
            <a:pPr marL="285750" indent="-285750" algn="just">
              <a:spcAft>
                <a:spcPts val="600"/>
              </a:spcAft>
              <a:buFont typeface="Wingdings" panose="05000000000000000000" pitchFamily="2" charset="2"/>
              <a:buChar char="§"/>
            </a:pPr>
            <a:r>
              <a:rPr lang="en-US" sz="1400" dirty="0"/>
              <a:t>Latam-GPT seems particularly interesting given the potential insights it might offers into key markets for SAM.</a:t>
            </a:r>
            <a:endParaRPr lang="es-ES" sz="1400" dirty="0"/>
          </a:p>
        </p:txBody>
      </p:sp>
    </p:spTree>
    <p:extLst>
      <p:ext uri="{BB962C8B-B14F-4D97-AF65-F5344CB8AC3E}">
        <p14:creationId xmlns:p14="http://schemas.microsoft.com/office/powerpoint/2010/main" val="17658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16C06-5E10-3D27-FDD3-CBECC4B4B2E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D0F0FBB-CF31-7258-D6B3-FD3CCD13F048}"/>
              </a:ext>
            </a:extLst>
          </p:cNvPr>
          <p:cNvSpPr>
            <a:spLocks noGrp="1"/>
          </p:cNvSpPr>
          <p:nvPr>
            <p:ph type="ctrTitle"/>
          </p:nvPr>
        </p:nvSpPr>
        <p:spPr>
          <a:xfrm>
            <a:off x="439259" y="939173"/>
            <a:ext cx="11309829" cy="740981"/>
          </a:xfrm>
        </p:spPr>
        <p:txBody>
          <a:bodyPr/>
          <a:lstStyle/>
          <a:p>
            <a:pPr algn="just"/>
            <a:r>
              <a:rPr lang="en-US" dirty="0"/>
              <a:t>2) Recent updates in AI (I)</a:t>
            </a:r>
          </a:p>
        </p:txBody>
      </p:sp>
      <p:sp>
        <p:nvSpPr>
          <p:cNvPr id="6" name="Marcador de texto 4">
            <a:extLst>
              <a:ext uri="{FF2B5EF4-FFF2-40B4-BE49-F238E27FC236}">
                <a16:creationId xmlns:a16="http://schemas.microsoft.com/office/drawing/2014/main" id="{8BEF89A0-9B50-124A-6F46-17A2C809E6F0}"/>
              </a:ext>
            </a:extLst>
          </p:cNvPr>
          <p:cNvSpPr txBox="1">
            <a:spLocks/>
          </p:cNvSpPr>
          <p:nvPr/>
        </p:nvSpPr>
        <p:spPr>
          <a:xfrm>
            <a:off x="439259" y="1474763"/>
            <a:ext cx="10664170" cy="575299"/>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buClr>
                <a:srgbClr val="C00000"/>
              </a:buClr>
            </a:pPr>
            <a:r>
              <a:rPr lang="en-US" sz="1600" dirty="0">
                <a:latin typeface="+mn-lt"/>
              </a:rPr>
              <a:t>Recent AI developments highlight progress in sustainability (Gemini, Mistral), open-source innovation (</a:t>
            </a:r>
            <a:r>
              <a:rPr lang="en-US" sz="1600" dirty="0" err="1">
                <a:latin typeface="+mn-lt"/>
              </a:rPr>
              <a:t>LangExtract</a:t>
            </a:r>
            <a:r>
              <a:rPr lang="en-US" sz="1600" dirty="0">
                <a:latin typeface="+mn-lt"/>
              </a:rPr>
              <a:t>, Latam-GPT), new business and revenue models (Perplexity Comet Plus), collaborative safety testing (OpenAI &amp; Anthropic), and the global race to autonomous agents (DeepSeek)—signaling both rapid technological gains and shifting industry dynamics.</a:t>
            </a:r>
          </a:p>
        </p:txBody>
      </p:sp>
      <p:grpSp>
        <p:nvGrpSpPr>
          <p:cNvPr id="43" name="Grupo 42">
            <a:extLst>
              <a:ext uri="{FF2B5EF4-FFF2-40B4-BE49-F238E27FC236}">
                <a16:creationId xmlns:a16="http://schemas.microsoft.com/office/drawing/2014/main" id="{64ED50A7-AB2A-7F01-F5AB-15829F2C15D0}"/>
              </a:ext>
            </a:extLst>
          </p:cNvPr>
          <p:cNvGrpSpPr/>
          <p:nvPr/>
        </p:nvGrpSpPr>
        <p:grpSpPr>
          <a:xfrm>
            <a:off x="6296624" y="2117638"/>
            <a:ext cx="3964547" cy="4372062"/>
            <a:chOff x="4695134" y="1840125"/>
            <a:chExt cx="3916607" cy="3391910"/>
          </a:xfrm>
        </p:grpSpPr>
        <p:sp>
          <p:nvSpPr>
            <p:cNvPr id="45" name="Rectángulo 44">
              <a:extLst>
                <a:ext uri="{FF2B5EF4-FFF2-40B4-BE49-F238E27FC236}">
                  <a16:creationId xmlns:a16="http://schemas.microsoft.com/office/drawing/2014/main" id="{F10211DB-E9CE-756B-FFAA-2E035271535F}"/>
                </a:ext>
              </a:extLst>
            </p:cNvPr>
            <p:cNvSpPr/>
            <p:nvPr/>
          </p:nvSpPr>
          <p:spPr>
            <a:xfrm>
              <a:off x="4695134" y="2204352"/>
              <a:ext cx="3916607" cy="302768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6" name="Marcador de texto 4">
              <a:extLst>
                <a:ext uri="{FF2B5EF4-FFF2-40B4-BE49-F238E27FC236}">
                  <a16:creationId xmlns:a16="http://schemas.microsoft.com/office/drawing/2014/main" id="{2911DFDA-7CBF-CE55-8527-50CF72078341}"/>
                </a:ext>
              </a:extLst>
            </p:cNvPr>
            <p:cNvSpPr txBox="1">
              <a:spLocks/>
            </p:cNvSpPr>
            <p:nvPr/>
          </p:nvSpPr>
          <p:spPr>
            <a:xfrm>
              <a:off x="5339121"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AI Accountability &amp; Reality Check</a:t>
              </a:r>
            </a:p>
          </p:txBody>
        </p:sp>
        <p:sp>
          <p:nvSpPr>
            <p:cNvPr id="44" name="Marcador de texto 4">
              <a:extLst>
                <a:ext uri="{FF2B5EF4-FFF2-40B4-BE49-F238E27FC236}">
                  <a16:creationId xmlns:a16="http://schemas.microsoft.com/office/drawing/2014/main" id="{9947456F-95BE-E86D-DF69-B445F45E839E}"/>
                </a:ext>
              </a:extLst>
            </p:cNvPr>
            <p:cNvSpPr txBox="1">
              <a:spLocks/>
            </p:cNvSpPr>
            <p:nvPr/>
          </p:nvSpPr>
          <p:spPr>
            <a:xfrm>
              <a:off x="4908548" y="2473055"/>
              <a:ext cx="3535200" cy="1101424"/>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3) MIT: 95% of GenAI Projects Fail to Deliver Value</a:t>
              </a:r>
            </a:p>
            <a:p>
              <a:pPr marL="285750" indent="-285750" algn="just">
                <a:buClr>
                  <a:srgbClr val="C00000"/>
                </a:buClr>
                <a:buFont typeface="Wingdings" panose="05000000000000000000" pitchFamily="2" charset="2"/>
                <a:buChar char="§"/>
              </a:pPr>
              <a:r>
                <a:rPr lang="en-US" dirty="0">
                  <a:latin typeface="+mn-lt"/>
                </a:rPr>
                <a:t>Most fail due to a learning gap with workflows, poor resource allocation, and low-ROI “shiny” use cases; only ~5% reach production.</a:t>
              </a:r>
            </a:p>
            <a:p>
              <a:pPr marL="285750" indent="-285750" algn="just">
                <a:buClr>
                  <a:srgbClr val="C00000"/>
                </a:buClr>
                <a:buFont typeface="Wingdings" panose="05000000000000000000" pitchFamily="2" charset="2"/>
                <a:buChar char="§"/>
              </a:pPr>
              <a:r>
                <a:rPr lang="en-US" dirty="0">
                  <a:latin typeface="+mn-lt"/>
                </a:rPr>
                <a:t>Success depends on governance, integration, and organizational readiness—not tech alone.</a:t>
              </a:r>
            </a:p>
          </p:txBody>
        </p:sp>
      </p:grpSp>
      <p:sp>
        <p:nvSpPr>
          <p:cNvPr id="8" name="Marcador de texto 4">
            <a:extLst>
              <a:ext uri="{FF2B5EF4-FFF2-40B4-BE49-F238E27FC236}">
                <a16:creationId xmlns:a16="http://schemas.microsoft.com/office/drawing/2014/main" id="{0FD7C25C-1705-4E4C-E3F8-8837219ACAE5}"/>
              </a:ext>
            </a:extLst>
          </p:cNvPr>
          <p:cNvSpPr txBox="1">
            <a:spLocks/>
          </p:cNvSpPr>
          <p:nvPr/>
        </p:nvSpPr>
        <p:spPr>
          <a:xfrm>
            <a:off x="6512650" y="4779398"/>
            <a:ext cx="3578472" cy="1370212"/>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4) OpenAI &amp; Anthropic: Cross-Lab Safety Tests</a:t>
            </a:r>
          </a:p>
          <a:p>
            <a:pPr marL="285750" indent="-285750" algn="just">
              <a:buClr>
                <a:srgbClr val="C00000"/>
              </a:buClr>
              <a:buFont typeface="Wingdings" panose="05000000000000000000" pitchFamily="2" charset="2"/>
              <a:buChar char="§"/>
            </a:pPr>
            <a:r>
              <a:rPr lang="en-US" dirty="0">
                <a:latin typeface="+mn-lt"/>
              </a:rPr>
              <a:t>Evaluated Claude Opus/Sonnet and GPT-4o/4.1/o3/o4-mini on jailbreaks, hallucinations, instruction hierarchy, and scheming.</a:t>
            </a:r>
          </a:p>
          <a:p>
            <a:pPr marL="285750" indent="-285750" algn="just">
              <a:buClr>
                <a:srgbClr val="C00000"/>
              </a:buClr>
              <a:buFont typeface="Wingdings" panose="05000000000000000000" pitchFamily="2" charset="2"/>
              <a:buChar char="§"/>
            </a:pPr>
            <a:r>
              <a:rPr lang="en-US" dirty="0">
                <a:latin typeface="+mn-lt"/>
              </a:rPr>
              <a:t>Claude excelled at hierarchy and prompt-extraction resistance (more refusals); OpenAI resisted jailbreaks better (fewer refusals) but hallucinated more.</a:t>
            </a:r>
          </a:p>
        </p:txBody>
      </p:sp>
      <p:grpSp>
        <p:nvGrpSpPr>
          <p:cNvPr id="12" name="Grupo 11">
            <a:extLst>
              <a:ext uri="{FF2B5EF4-FFF2-40B4-BE49-F238E27FC236}">
                <a16:creationId xmlns:a16="http://schemas.microsoft.com/office/drawing/2014/main" id="{60E86C17-389A-FDA9-3808-8123E13D6D85}"/>
              </a:ext>
            </a:extLst>
          </p:cNvPr>
          <p:cNvGrpSpPr/>
          <p:nvPr/>
        </p:nvGrpSpPr>
        <p:grpSpPr>
          <a:xfrm>
            <a:off x="1308272" y="2219238"/>
            <a:ext cx="3965827" cy="4270462"/>
            <a:chOff x="1308272" y="2219238"/>
            <a:chExt cx="3965827" cy="4270462"/>
          </a:xfrm>
        </p:grpSpPr>
        <p:grpSp>
          <p:nvGrpSpPr>
            <p:cNvPr id="37" name="Grupo 36">
              <a:extLst>
                <a:ext uri="{FF2B5EF4-FFF2-40B4-BE49-F238E27FC236}">
                  <a16:creationId xmlns:a16="http://schemas.microsoft.com/office/drawing/2014/main" id="{8976AAF8-1F55-AD82-9D98-6FFA3060D36A}"/>
                </a:ext>
              </a:extLst>
            </p:cNvPr>
            <p:cNvGrpSpPr/>
            <p:nvPr/>
          </p:nvGrpSpPr>
          <p:grpSpPr>
            <a:xfrm>
              <a:off x="1308272" y="2219238"/>
              <a:ext cx="3965827" cy="4270462"/>
              <a:chOff x="439259" y="1840125"/>
              <a:chExt cx="3965827" cy="4270462"/>
            </a:xfrm>
          </p:grpSpPr>
          <p:sp>
            <p:nvSpPr>
              <p:cNvPr id="39" name="Marcador de texto 4">
                <a:extLst>
                  <a:ext uri="{FF2B5EF4-FFF2-40B4-BE49-F238E27FC236}">
                    <a16:creationId xmlns:a16="http://schemas.microsoft.com/office/drawing/2014/main" id="{CC4DDFF4-761D-995B-6DF0-1E7532E18886}"/>
                  </a:ext>
                </a:extLst>
              </p:cNvPr>
              <p:cNvSpPr txBox="1">
                <a:spLocks/>
              </p:cNvSpPr>
              <p:nvPr/>
            </p:nvSpPr>
            <p:spPr>
              <a:xfrm>
                <a:off x="632086" y="2668588"/>
                <a:ext cx="3533514" cy="142555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1) Mistral Large 2: Measuring AI’s Environmental Footprint</a:t>
                </a:r>
              </a:p>
              <a:p>
                <a:pPr marL="285750" indent="-285750" algn="just">
                  <a:buClr>
                    <a:srgbClr val="C00000"/>
                  </a:buClr>
                  <a:buFont typeface="Wingdings" panose="05000000000000000000" pitchFamily="2" charset="2"/>
                  <a:buChar char="§"/>
                </a:pPr>
                <a:r>
                  <a:rPr lang="en-US" dirty="0">
                    <a:latin typeface="+mn-lt"/>
                  </a:rPr>
                  <a:t>Training emitted ~20,400 tons CO₂ and consumed ~281,000 m³ water; a 400-token exchange emits ~1.14 g CO₂ and ~45 ml water.</a:t>
                </a:r>
              </a:p>
              <a:p>
                <a:pPr marL="285750" indent="-285750" algn="just">
                  <a:buClr>
                    <a:srgbClr val="C00000"/>
                  </a:buClr>
                  <a:buFont typeface="Wingdings" panose="05000000000000000000" pitchFamily="2" charset="2"/>
                  <a:buChar char="§"/>
                </a:pPr>
                <a:r>
                  <a:rPr lang="en-US" dirty="0" err="1">
                    <a:latin typeface="+mn-lt"/>
                  </a:rPr>
                  <a:t>Training+inference</a:t>
                </a:r>
                <a:r>
                  <a:rPr lang="en-US" dirty="0">
                    <a:latin typeface="+mn-lt"/>
                  </a:rPr>
                  <a:t> drive 85% of CO₂ and 91% of water use; study follows Frugal AI methodology to set comparable standards.</a:t>
                </a:r>
              </a:p>
            </p:txBody>
          </p:sp>
          <p:sp>
            <p:nvSpPr>
              <p:cNvPr id="41" name="Rectángulo 40">
                <a:extLst>
                  <a:ext uri="{FF2B5EF4-FFF2-40B4-BE49-F238E27FC236}">
                    <a16:creationId xmlns:a16="http://schemas.microsoft.com/office/drawing/2014/main" id="{1D17B2A6-1FC3-8256-10F3-3AFCA2296B20}"/>
                  </a:ext>
                </a:extLst>
              </p:cNvPr>
              <p:cNvSpPr/>
              <p:nvPr/>
            </p:nvSpPr>
            <p:spPr>
              <a:xfrm>
                <a:off x="439259" y="2204352"/>
                <a:ext cx="3965827" cy="390623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Marcador de texto 4">
                <a:extLst>
                  <a:ext uri="{FF2B5EF4-FFF2-40B4-BE49-F238E27FC236}">
                    <a16:creationId xmlns:a16="http://schemas.microsoft.com/office/drawing/2014/main" id="{9320906B-9399-F7D8-A216-3D8FA59FFFD9}"/>
                  </a:ext>
                </a:extLst>
              </p:cNvPr>
              <p:cNvSpPr txBox="1">
                <a:spLocks/>
              </p:cNvSpPr>
              <p:nvPr/>
            </p:nvSpPr>
            <p:spPr>
              <a:xfrm>
                <a:off x="1061816"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Sustainable AI</a:t>
                </a:r>
              </a:p>
            </p:txBody>
          </p:sp>
        </p:grpSp>
        <p:sp>
          <p:nvSpPr>
            <p:cNvPr id="10" name="Marcador de texto 4">
              <a:extLst>
                <a:ext uri="{FF2B5EF4-FFF2-40B4-BE49-F238E27FC236}">
                  <a16:creationId xmlns:a16="http://schemas.microsoft.com/office/drawing/2014/main" id="{ECAC9342-5725-29A8-498E-3A9E50BFCCBC}"/>
                </a:ext>
              </a:extLst>
            </p:cNvPr>
            <p:cNvSpPr txBox="1">
              <a:spLocks/>
            </p:cNvSpPr>
            <p:nvPr/>
          </p:nvSpPr>
          <p:spPr>
            <a:xfrm>
              <a:off x="1501099" y="4778242"/>
              <a:ext cx="3533514" cy="143187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2) Gemini and the Carbon Cost of AI</a:t>
              </a:r>
            </a:p>
            <a:p>
              <a:pPr marL="285750" indent="-285750" algn="just">
                <a:buClr>
                  <a:srgbClr val="C00000"/>
                </a:buClr>
                <a:buFont typeface="Wingdings" panose="05000000000000000000" pitchFamily="2" charset="2"/>
                <a:buChar char="§"/>
              </a:pPr>
              <a:r>
                <a:rPr lang="en-US" dirty="0">
                  <a:latin typeface="+mn-lt"/>
                </a:rPr>
                <a:t>A median prompt uses ~0.24 </a:t>
              </a:r>
              <a:r>
                <a:rPr lang="en-US" dirty="0" err="1">
                  <a:latin typeface="+mn-lt"/>
                </a:rPr>
                <a:t>Wh</a:t>
              </a:r>
              <a:r>
                <a:rPr lang="en-US" dirty="0">
                  <a:latin typeface="+mn-lt"/>
                </a:rPr>
                <a:t>, 0.26 ml water, and 0.03 g CO₂—roughly a web-page load or 9 seconds of TV.</a:t>
              </a:r>
            </a:p>
            <a:p>
              <a:pPr marL="285750" indent="-285750" algn="just">
                <a:buClr>
                  <a:srgbClr val="C00000"/>
                </a:buClr>
                <a:buFont typeface="Wingdings" panose="05000000000000000000" pitchFamily="2" charset="2"/>
                <a:buChar char="§"/>
              </a:pPr>
              <a:r>
                <a:rPr lang="en-US" dirty="0">
                  <a:latin typeface="+mn-lt"/>
                </a:rPr>
                <a:t>From May ’24 to May ’25, energy fell 33× and emissions 44× thanks to cleaner power and more efficient chips/models.</a:t>
              </a:r>
            </a:p>
          </p:txBody>
        </p:sp>
      </p:grpSp>
    </p:spTree>
    <p:extLst>
      <p:ext uri="{BB962C8B-B14F-4D97-AF65-F5344CB8AC3E}">
        <p14:creationId xmlns:p14="http://schemas.microsoft.com/office/powerpoint/2010/main" val="1243781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D5717-9DE9-5FBF-1C29-D27ED079C54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88F98E0-5EA2-5F88-AD00-B835324CBAFE}"/>
              </a:ext>
            </a:extLst>
          </p:cNvPr>
          <p:cNvSpPr>
            <a:spLocks noGrp="1"/>
          </p:cNvSpPr>
          <p:nvPr>
            <p:ph type="ctrTitle"/>
          </p:nvPr>
        </p:nvSpPr>
        <p:spPr>
          <a:xfrm>
            <a:off x="439259" y="939173"/>
            <a:ext cx="11309829" cy="740981"/>
          </a:xfrm>
        </p:spPr>
        <p:txBody>
          <a:bodyPr/>
          <a:lstStyle/>
          <a:p>
            <a:pPr algn="just"/>
            <a:r>
              <a:rPr lang="en-US" dirty="0"/>
              <a:t>2) Recent updates in AI (I)</a:t>
            </a:r>
          </a:p>
        </p:txBody>
      </p:sp>
      <p:sp>
        <p:nvSpPr>
          <p:cNvPr id="6" name="Marcador de texto 4">
            <a:extLst>
              <a:ext uri="{FF2B5EF4-FFF2-40B4-BE49-F238E27FC236}">
                <a16:creationId xmlns:a16="http://schemas.microsoft.com/office/drawing/2014/main" id="{DD042D67-8C96-E8FD-3192-0D2EC054E9B1}"/>
              </a:ext>
            </a:extLst>
          </p:cNvPr>
          <p:cNvSpPr txBox="1">
            <a:spLocks/>
          </p:cNvSpPr>
          <p:nvPr/>
        </p:nvSpPr>
        <p:spPr>
          <a:xfrm>
            <a:off x="439259" y="1474763"/>
            <a:ext cx="10664170" cy="575299"/>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buClr>
                <a:srgbClr val="C00000"/>
              </a:buClr>
            </a:pPr>
            <a:r>
              <a:rPr lang="en-US" sz="1600" dirty="0">
                <a:latin typeface="+mn-lt"/>
              </a:rPr>
              <a:t>Recent AI developments highlight progress in sustainability (Gemini, Mistral), open-source innovation (</a:t>
            </a:r>
            <a:r>
              <a:rPr lang="en-US" sz="1600" dirty="0" err="1">
                <a:latin typeface="+mn-lt"/>
              </a:rPr>
              <a:t>LangExtract</a:t>
            </a:r>
            <a:r>
              <a:rPr lang="en-US" sz="1600" dirty="0">
                <a:latin typeface="+mn-lt"/>
              </a:rPr>
              <a:t>, Latam-GPT), new business and revenue models (Perplexity Comet Plus), collaborative safety testing (OpenAI &amp; Anthropic), and the global race to autonomous agents (DeepSeek)—signaling both rapid technological gains and shifting industry dynamics.</a:t>
            </a:r>
          </a:p>
        </p:txBody>
      </p:sp>
      <p:grpSp>
        <p:nvGrpSpPr>
          <p:cNvPr id="7" name="Grupo 6">
            <a:extLst>
              <a:ext uri="{FF2B5EF4-FFF2-40B4-BE49-F238E27FC236}">
                <a16:creationId xmlns:a16="http://schemas.microsoft.com/office/drawing/2014/main" id="{BCADB75D-C5AE-FDFB-D731-182430AB8756}"/>
              </a:ext>
            </a:extLst>
          </p:cNvPr>
          <p:cNvGrpSpPr/>
          <p:nvPr/>
        </p:nvGrpSpPr>
        <p:grpSpPr>
          <a:xfrm>
            <a:off x="6904944" y="2312696"/>
            <a:ext cx="3965827" cy="4229137"/>
            <a:chOff x="134465" y="1898528"/>
            <a:chExt cx="3965827" cy="2368673"/>
          </a:xfrm>
        </p:grpSpPr>
        <p:sp>
          <p:nvSpPr>
            <p:cNvPr id="9" name="Rectángulo 8">
              <a:extLst>
                <a:ext uri="{FF2B5EF4-FFF2-40B4-BE49-F238E27FC236}">
                  <a16:creationId xmlns:a16="http://schemas.microsoft.com/office/drawing/2014/main" id="{C1FEC671-243A-3AE8-1874-16879E1B003A}"/>
                </a:ext>
              </a:extLst>
            </p:cNvPr>
            <p:cNvSpPr/>
            <p:nvPr/>
          </p:nvSpPr>
          <p:spPr>
            <a:xfrm>
              <a:off x="134465" y="2050180"/>
              <a:ext cx="3965827" cy="221702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Marcador de texto 4">
              <a:extLst>
                <a:ext uri="{FF2B5EF4-FFF2-40B4-BE49-F238E27FC236}">
                  <a16:creationId xmlns:a16="http://schemas.microsoft.com/office/drawing/2014/main" id="{ABEB3DA6-F7CA-7195-9553-52510A293BE9}"/>
                </a:ext>
              </a:extLst>
            </p:cNvPr>
            <p:cNvSpPr txBox="1">
              <a:spLocks/>
            </p:cNvSpPr>
            <p:nvPr/>
          </p:nvSpPr>
          <p:spPr>
            <a:xfrm>
              <a:off x="757022" y="1898528"/>
              <a:ext cx="2674055" cy="314402"/>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New AI Revenue Models</a:t>
              </a:r>
            </a:p>
          </p:txBody>
        </p:sp>
        <p:sp>
          <p:nvSpPr>
            <p:cNvPr id="13" name="Marcador de texto 4">
              <a:extLst>
                <a:ext uri="{FF2B5EF4-FFF2-40B4-BE49-F238E27FC236}">
                  <a16:creationId xmlns:a16="http://schemas.microsoft.com/office/drawing/2014/main" id="{EC15F622-2D66-85A4-94B9-5D204F7B2DAC}"/>
                </a:ext>
              </a:extLst>
            </p:cNvPr>
            <p:cNvSpPr txBox="1">
              <a:spLocks/>
            </p:cNvSpPr>
            <p:nvPr/>
          </p:nvSpPr>
          <p:spPr>
            <a:xfrm>
              <a:off x="327292" y="2196556"/>
              <a:ext cx="3533514" cy="109198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8) Perplexity Comet Plus: New Revenue for Journalism</a:t>
              </a:r>
            </a:p>
            <a:p>
              <a:pPr marL="285750" indent="-285750" algn="just">
                <a:buClr>
                  <a:srgbClr val="C00000"/>
                </a:buClr>
                <a:buFont typeface="Wingdings" panose="05000000000000000000" pitchFamily="2" charset="2"/>
                <a:buChar char="§"/>
              </a:pPr>
              <a:r>
                <a:rPr lang="en-US" dirty="0">
                  <a:latin typeface="+mn-lt"/>
                </a:rPr>
                <a:t>Pays publishers for human visits, search citations, and AI-agent actions; distributes subscription revenue minus compute.</a:t>
              </a:r>
            </a:p>
            <a:p>
              <a:pPr marL="285750" indent="-285750" algn="just">
                <a:buClr>
                  <a:srgbClr val="C00000"/>
                </a:buClr>
                <a:buFont typeface="Wingdings" panose="05000000000000000000" pitchFamily="2" charset="2"/>
                <a:buChar char="§"/>
              </a:pPr>
              <a:r>
                <a:rPr lang="en-US" dirty="0">
                  <a:latin typeface="+mn-lt"/>
                </a:rPr>
                <a:t>Bundled with Pro/Max to create sustainable economics as AI reshapes information consumption.</a:t>
              </a:r>
            </a:p>
          </p:txBody>
        </p:sp>
      </p:grpSp>
      <p:grpSp>
        <p:nvGrpSpPr>
          <p:cNvPr id="14" name="Grupo 13">
            <a:extLst>
              <a:ext uri="{FF2B5EF4-FFF2-40B4-BE49-F238E27FC236}">
                <a16:creationId xmlns:a16="http://schemas.microsoft.com/office/drawing/2014/main" id="{54E58C17-EF45-16E0-9630-9CF86BBCC2EB}"/>
              </a:ext>
            </a:extLst>
          </p:cNvPr>
          <p:cNvGrpSpPr/>
          <p:nvPr/>
        </p:nvGrpSpPr>
        <p:grpSpPr>
          <a:xfrm>
            <a:off x="1117772" y="2219238"/>
            <a:ext cx="5397328" cy="4322596"/>
            <a:chOff x="1308272" y="2219238"/>
            <a:chExt cx="5397328" cy="4322596"/>
          </a:xfrm>
        </p:grpSpPr>
        <p:grpSp>
          <p:nvGrpSpPr>
            <p:cNvPr id="37" name="Grupo 36">
              <a:extLst>
                <a:ext uri="{FF2B5EF4-FFF2-40B4-BE49-F238E27FC236}">
                  <a16:creationId xmlns:a16="http://schemas.microsoft.com/office/drawing/2014/main" id="{EFBD00E0-3E68-4076-A369-1432552D07DA}"/>
                </a:ext>
              </a:extLst>
            </p:cNvPr>
            <p:cNvGrpSpPr/>
            <p:nvPr/>
          </p:nvGrpSpPr>
          <p:grpSpPr>
            <a:xfrm>
              <a:off x="1308272" y="2219238"/>
              <a:ext cx="5397328" cy="4322596"/>
              <a:chOff x="439259" y="1840125"/>
              <a:chExt cx="5397328" cy="4322596"/>
            </a:xfrm>
          </p:grpSpPr>
          <p:sp>
            <p:nvSpPr>
              <p:cNvPr id="41" name="Rectángulo 40">
                <a:extLst>
                  <a:ext uri="{FF2B5EF4-FFF2-40B4-BE49-F238E27FC236}">
                    <a16:creationId xmlns:a16="http://schemas.microsoft.com/office/drawing/2014/main" id="{192A7B75-EA34-3807-D062-882C97B86E19}"/>
                  </a:ext>
                </a:extLst>
              </p:cNvPr>
              <p:cNvSpPr/>
              <p:nvPr/>
            </p:nvSpPr>
            <p:spPr>
              <a:xfrm>
                <a:off x="439259" y="2204352"/>
                <a:ext cx="5397328" cy="3958369"/>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Marcador de texto 4">
                <a:extLst>
                  <a:ext uri="{FF2B5EF4-FFF2-40B4-BE49-F238E27FC236}">
                    <a16:creationId xmlns:a16="http://schemas.microsoft.com/office/drawing/2014/main" id="{2EFB7AFC-48DC-A5B6-088C-B708BE151F90}"/>
                  </a:ext>
                </a:extLst>
              </p:cNvPr>
              <p:cNvSpPr txBox="1">
                <a:spLocks/>
              </p:cNvSpPr>
              <p:nvPr/>
            </p:nvSpPr>
            <p:spPr>
              <a:xfrm>
                <a:off x="1800896"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AI models</a:t>
                </a:r>
              </a:p>
            </p:txBody>
          </p:sp>
        </p:grpSp>
        <p:sp>
          <p:nvSpPr>
            <p:cNvPr id="3" name="Marcador de texto 4">
              <a:extLst>
                <a:ext uri="{FF2B5EF4-FFF2-40B4-BE49-F238E27FC236}">
                  <a16:creationId xmlns:a16="http://schemas.microsoft.com/office/drawing/2014/main" id="{5AA36A53-C199-9AB0-5222-FB1C3A8F8AFA}"/>
                </a:ext>
              </a:extLst>
            </p:cNvPr>
            <p:cNvSpPr txBox="1">
              <a:spLocks/>
            </p:cNvSpPr>
            <p:nvPr/>
          </p:nvSpPr>
          <p:spPr>
            <a:xfrm>
              <a:off x="1525884" y="2829306"/>
              <a:ext cx="4974986" cy="1242618"/>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5) DeepSeek Prepares an AI Agent by Year-End</a:t>
              </a:r>
            </a:p>
            <a:p>
              <a:pPr marL="285750" indent="-285750" algn="just">
                <a:buClr>
                  <a:srgbClr val="C00000"/>
                </a:buClr>
                <a:buFont typeface="Wingdings" panose="05000000000000000000" pitchFamily="2" charset="2"/>
                <a:buChar char="§"/>
              </a:pPr>
              <a:r>
                <a:rPr lang="en-US" dirty="0">
                  <a:latin typeface="+mn-lt"/>
                </a:rPr>
                <a:t>Agent aims to perform multi-step tasks with minimal input and learn from prior actions.</a:t>
              </a:r>
            </a:p>
            <a:p>
              <a:pPr marL="285750" indent="-285750" algn="just">
                <a:buClr>
                  <a:srgbClr val="C00000"/>
                </a:buClr>
                <a:buFont typeface="Wingdings" panose="05000000000000000000" pitchFamily="2" charset="2"/>
                <a:buChar char="§"/>
              </a:pPr>
              <a:r>
                <a:rPr lang="en-US" dirty="0">
                  <a:latin typeface="+mn-lt"/>
                </a:rPr>
                <a:t>Positions DeepSeek to challenge OpenAI on autonomous agents with a low-cost innovation strategy.</a:t>
              </a:r>
            </a:p>
          </p:txBody>
        </p:sp>
        <p:sp>
          <p:nvSpPr>
            <p:cNvPr id="4" name="Marcador de texto 4">
              <a:extLst>
                <a:ext uri="{FF2B5EF4-FFF2-40B4-BE49-F238E27FC236}">
                  <a16:creationId xmlns:a16="http://schemas.microsoft.com/office/drawing/2014/main" id="{94E6CF34-89A9-9937-121C-02F8B78EBEA8}"/>
                </a:ext>
              </a:extLst>
            </p:cNvPr>
            <p:cNvSpPr txBox="1">
              <a:spLocks/>
            </p:cNvSpPr>
            <p:nvPr/>
          </p:nvSpPr>
          <p:spPr>
            <a:xfrm>
              <a:off x="1525041" y="3949464"/>
              <a:ext cx="4975829" cy="134178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fr-FR" b="1" dirty="0">
                  <a:latin typeface="Santander Text" panose="020B0504020201020104" pitchFamily="34" charset="0"/>
                </a:rPr>
                <a:t>6) </a:t>
              </a:r>
              <a:r>
                <a:rPr lang="fr-FR" b="1" dirty="0" err="1">
                  <a:latin typeface="Santander Text" panose="020B0504020201020104" pitchFamily="34" charset="0"/>
                </a:rPr>
                <a:t>Latam</a:t>
              </a:r>
              <a:r>
                <a:rPr lang="fr-FR" b="1" dirty="0">
                  <a:latin typeface="Santander Text" panose="020B0504020201020104" pitchFamily="34" charset="0"/>
                </a:rPr>
                <a:t>-GPT: Open-Source Model for Latin America</a:t>
              </a:r>
              <a:endParaRPr lang="en-US" b="1" dirty="0">
                <a:latin typeface="Santander Text" panose="020B0504020201020104" pitchFamily="34" charset="0"/>
              </a:endParaRPr>
            </a:p>
            <a:p>
              <a:pPr marL="285750" indent="-285750" algn="just">
                <a:buClr>
                  <a:srgbClr val="C00000"/>
                </a:buClr>
                <a:buFont typeface="Wingdings" panose="05000000000000000000" pitchFamily="2" charset="2"/>
                <a:buChar char="§"/>
              </a:pPr>
              <a:r>
                <a:rPr lang="en-US" dirty="0">
                  <a:latin typeface="+mn-lt"/>
                </a:rPr>
                <a:t>50B-parameter model trained on 8TB of regional data from 33 institutions to capture dialects and cultural nuance.</a:t>
              </a:r>
            </a:p>
            <a:p>
              <a:pPr marL="285750" indent="-285750" algn="just">
                <a:buClr>
                  <a:srgbClr val="C00000"/>
                </a:buClr>
                <a:buFont typeface="Wingdings" panose="05000000000000000000" pitchFamily="2" charset="2"/>
                <a:buChar char="§"/>
              </a:pPr>
              <a:r>
                <a:rPr lang="en-US" dirty="0">
                  <a:latin typeface="+mn-lt"/>
                </a:rPr>
                <a:t>Free, open model for adaptation in education, healthcare, and agriculture.</a:t>
              </a:r>
            </a:p>
          </p:txBody>
        </p:sp>
        <p:sp>
          <p:nvSpPr>
            <p:cNvPr id="5" name="Marcador de texto 4">
              <a:extLst>
                <a:ext uri="{FF2B5EF4-FFF2-40B4-BE49-F238E27FC236}">
                  <a16:creationId xmlns:a16="http://schemas.microsoft.com/office/drawing/2014/main" id="{04234955-5664-8B75-BCF9-4ED4E07D97FA}"/>
                </a:ext>
              </a:extLst>
            </p:cNvPr>
            <p:cNvSpPr txBox="1">
              <a:spLocks/>
            </p:cNvSpPr>
            <p:nvPr/>
          </p:nvSpPr>
          <p:spPr>
            <a:xfrm>
              <a:off x="1537128" y="5184916"/>
              <a:ext cx="4963742" cy="1242618"/>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7) Google’s </a:t>
              </a:r>
              <a:r>
                <a:rPr lang="en-US" b="1" dirty="0" err="1">
                  <a:latin typeface="Santander Text" panose="020B0504020201020104" pitchFamily="34" charset="0"/>
                </a:rPr>
                <a:t>LangExtract</a:t>
              </a:r>
              <a:r>
                <a:rPr lang="en-US" b="1" dirty="0">
                  <a:latin typeface="Santander Text" panose="020B0504020201020104" pitchFamily="34" charset="0"/>
                </a:rPr>
                <a:t>: Open-Source Structured Extraction</a:t>
              </a:r>
            </a:p>
            <a:p>
              <a:pPr marL="285750" indent="-285750" algn="just">
                <a:buClr>
                  <a:srgbClr val="C00000"/>
                </a:buClr>
                <a:buFont typeface="Wingdings" panose="05000000000000000000" pitchFamily="2" charset="2"/>
                <a:buChar char="§"/>
              </a:pPr>
              <a:r>
                <a:rPr lang="en-US" dirty="0">
                  <a:latin typeface="+mn-lt"/>
                </a:rPr>
                <a:t>Extracts structured data from long, messy text via chunking, parallelism, and multi-pass prompts with only a few examples.</a:t>
              </a:r>
            </a:p>
            <a:p>
              <a:pPr marL="285750" indent="-285750" algn="just">
                <a:buClr>
                  <a:srgbClr val="C00000"/>
                </a:buClr>
                <a:buFont typeface="Wingdings" panose="05000000000000000000" pitchFamily="2" charset="2"/>
                <a:buChar char="§"/>
              </a:pPr>
              <a:r>
                <a:rPr lang="en-US" dirty="0">
                  <a:latin typeface="+mn-lt"/>
                </a:rPr>
                <a:t>Maps every field to exact source spans, offers HTML review, and works with Gemini (cloud) and </a:t>
              </a:r>
              <a:r>
                <a:rPr lang="en-US" dirty="0" err="1">
                  <a:latin typeface="+mn-lt"/>
                </a:rPr>
                <a:t>Ollama</a:t>
              </a:r>
              <a:r>
                <a:rPr lang="en-US" dirty="0">
                  <a:latin typeface="+mn-lt"/>
                </a:rPr>
                <a:t> (local), Apache-2.0.</a:t>
              </a:r>
            </a:p>
          </p:txBody>
        </p:sp>
      </p:grpSp>
    </p:spTree>
    <p:extLst>
      <p:ext uri="{BB962C8B-B14F-4D97-AF65-F5344CB8AC3E}">
        <p14:creationId xmlns:p14="http://schemas.microsoft.com/office/powerpoint/2010/main" val="4268494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F26DF-391D-3BA1-A528-B9E4179A6298}"/>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5716D71B-17A2-35E9-4D6F-30916BCC0BDB}"/>
              </a:ext>
            </a:extLst>
          </p:cNvPr>
          <p:cNvSpPr>
            <a:spLocks noGrp="1"/>
          </p:cNvSpPr>
          <p:nvPr>
            <p:ph type="ctrTitle"/>
          </p:nvPr>
        </p:nvSpPr>
        <p:spPr>
          <a:xfrm>
            <a:off x="439259" y="939173"/>
            <a:ext cx="11309829" cy="740981"/>
          </a:xfrm>
        </p:spPr>
        <p:txBody>
          <a:bodyPr/>
          <a:lstStyle/>
          <a:p>
            <a:pPr algn="just"/>
            <a:r>
              <a:rPr lang="en-US" dirty="0"/>
              <a:t>2.1) Mistral Large 2: Measuring AI’s Environmental Footprint</a:t>
            </a:r>
          </a:p>
        </p:txBody>
      </p:sp>
      <p:sp>
        <p:nvSpPr>
          <p:cNvPr id="6" name="Marcador de texto 4">
            <a:extLst>
              <a:ext uri="{FF2B5EF4-FFF2-40B4-BE49-F238E27FC236}">
                <a16:creationId xmlns:a16="http://schemas.microsoft.com/office/drawing/2014/main" id="{C2A832E8-EFE9-839F-0564-909B9D205760}"/>
              </a:ext>
            </a:extLst>
          </p:cNvPr>
          <p:cNvSpPr txBox="1">
            <a:spLocks/>
          </p:cNvSpPr>
          <p:nvPr/>
        </p:nvSpPr>
        <p:spPr>
          <a:xfrm>
            <a:off x="439260" y="1647124"/>
            <a:ext cx="6281470"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Mistral published a full life-cycle environmental analysis of its flagship 123B parameter model, aiming to set a standard for measuring AI’s impact on greenhouse gases, water, and material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Training impact</a:t>
            </a:r>
            <a:r>
              <a:rPr lang="en-US" sz="1800" dirty="0">
                <a:latin typeface="+mn-lt"/>
              </a:rPr>
              <a:t>: Producing Mistral Large 2 emitted 20,400 tons of CO₂ (≈4,400 cars annually) and consumed 281,000 cubic meters of water (≈500 years of a U.S. family’s usage).</a:t>
            </a:r>
          </a:p>
          <a:p>
            <a:pPr marL="285750" indent="-285750" algn="just">
              <a:buClr>
                <a:srgbClr val="C00000"/>
              </a:buClr>
              <a:buFont typeface="Wingdings" panose="05000000000000000000" pitchFamily="2" charset="2"/>
              <a:buChar char="§"/>
            </a:pPr>
            <a:r>
              <a:rPr lang="en-US" sz="1800" b="1" dirty="0">
                <a:latin typeface="+mn-lt"/>
              </a:rPr>
              <a:t>Resource breakdown</a:t>
            </a:r>
            <a:r>
              <a:rPr lang="en-US" sz="1800" dirty="0">
                <a:latin typeface="+mn-lt"/>
              </a:rPr>
              <a:t>: Training + inference drove 85% of CO₂ and 91% of water usage, while server manufacturing and decommissioning accounted for 61% of material depletion.</a:t>
            </a:r>
          </a:p>
          <a:p>
            <a:pPr marL="285750" indent="-285750" algn="just">
              <a:buClr>
                <a:srgbClr val="C00000"/>
              </a:buClr>
              <a:buFont typeface="Wingdings" panose="05000000000000000000" pitchFamily="2" charset="2"/>
              <a:buChar char="§"/>
            </a:pPr>
            <a:r>
              <a:rPr lang="en-US" sz="1800" b="1" dirty="0">
                <a:latin typeface="+mn-lt"/>
              </a:rPr>
              <a:t>Per prompt footprint: A 400-token response emitted 1.14g of CO₂ (like watching 10s of YouTube in the U.S.), used 45ml of water, and consumed materials equivalent to minting a 2 Euro coin.</a:t>
            </a:r>
          </a:p>
        </p:txBody>
      </p:sp>
      <p:sp>
        <p:nvSpPr>
          <p:cNvPr id="4" name="CuadroTexto 3">
            <a:extLst>
              <a:ext uri="{FF2B5EF4-FFF2-40B4-BE49-F238E27FC236}">
                <a16:creationId xmlns:a16="http://schemas.microsoft.com/office/drawing/2014/main" id="{EFD6DE82-A963-69FB-384D-545762B104E3}"/>
              </a:ext>
            </a:extLst>
          </p:cNvPr>
          <p:cNvSpPr txBox="1"/>
          <p:nvPr/>
        </p:nvSpPr>
        <p:spPr>
          <a:xfrm>
            <a:off x="439259" y="5810559"/>
            <a:ext cx="11422541"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Mistral’s audit, based on Frugal AI methodology, represents one of the most rigorous efforts to quantify AI’s environmental toll. If adopted broadly, it could create benchmarks to compare models, encourage greener infrastructure, and push the industry toward sustainable.</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9EC37666-FDE7-2D7A-6576-57A1C21EAD0A}"/>
              </a:ext>
            </a:extLst>
          </p:cNvPr>
          <p:cNvSpPr txBox="1"/>
          <p:nvPr/>
        </p:nvSpPr>
        <p:spPr>
          <a:xfrm>
            <a:off x="6892216" y="4776363"/>
            <a:ext cx="5058779" cy="738664"/>
          </a:xfrm>
          <a:prstGeom prst="rect">
            <a:avLst/>
          </a:prstGeom>
          <a:noFill/>
        </p:spPr>
        <p:txBody>
          <a:bodyPr wrap="square">
            <a:spAutoFit/>
          </a:bodyPr>
          <a:lstStyle/>
          <a:p>
            <a:r>
              <a:rPr lang="en-US" sz="1400" b="1" dirty="0">
                <a:latin typeface="Santander Text" panose="020B0504020201020104" pitchFamily="34" charset="0"/>
              </a:rPr>
              <a:t>Link:</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General </a:t>
            </a:r>
            <a:r>
              <a:rPr lang="es-ES" sz="1400" dirty="0" err="1">
                <a:hlinkClick r:id="rId3"/>
              </a:rPr>
              <a:t>framework</a:t>
            </a:r>
            <a:r>
              <a:rPr lang="es-ES" sz="1400" dirty="0">
                <a:hlinkClick r:id="rId3"/>
              </a:rPr>
              <a:t> </a:t>
            </a:r>
            <a:r>
              <a:rPr lang="es-ES" sz="1400" dirty="0" err="1">
                <a:hlinkClick r:id="rId3"/>
              </a:rPr>
              <a:t>for</a:t>
            </a:r>
            <a:r>
              <a:rPr lang="es-ES" sz="1400" dirty="0">
                <a:hlinkClick r:id="rId3"/>
              </a:rPr>
              <a:t> frugal AI</a:t>
            </a:r>
            <a:endParaRPr lang="es-ES" sz="1400" dirty="0"/>
          </a:p>
        </p:txBody>
      </p:sp>
      <p:pic>
        <p:nvPicPr>
          <p:cNvPr id="5" name="Imagen 4" descr="Infographic showing Mistral Large 2’s environmental impact across emissions, water, and material use.">
            <a:extLst>
              <a:ext uri="{FF2B5EF4-FFF2-40B4-BE49-F238E27FC236}">
                <a16:creationId xmlns:a16="http://schemas.microsoft.com/office/drawing/2014/main" id="{CA4854CB-95E7-DADE-623B-A1A1E14802F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09925" y="1680154"/>
            <a:ext cx="5237272" cy="2944426"/>
          </a:xfrm>
          <a:prstGeom prst="rect">
            <a:avLst/>
          </a:prstGeom>
          <a:noFill/>
          <a:ln>
            <a:noFill/>
          </a:ln>
        </p:spPr>
      </p:pic>
    </p:spTree>
    <p:extLst>
      <p:ext uri="{BB962C8B-B14F-4D97-AF65-F5344CB8AC3E}">
        <p14:creationId xmlns:p14="http://schemas.microsoft.com/office/powerpoint/2010/main" val="3338946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_Cover Pages, Cover Pages, Impact Phrases">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M Template">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_2021">
      <a:majorFont>
        <a:latin typeface="Santander Headline Light"/>
        <a:ea typeface=""/>
        <a:cs typeface=""/>
      </a:majorFont>
      <a:minorFont>
        <a:latin typeface="Santander T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90</Words>
  <Application>Microsoft Office PowerPoint</Application>
  <PresentationFormat>Panorámica</PresentationFormat>
  <Paragraphs>208</Paragraphs>
  <Slides>24</Slides>
  <Notes>21</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24</vt:i4>
      </vt:variant>
    </vt:vector>
  </HeadingPairs>
  <TitlesOfParts>
    <vt:vector size="35" baseType="lpstr">
      <vt:lpstr>Santander Headline</vt:lpstr>
      <vt:lpstr>Spectral</vt:lpstr>
      <vt:lpstr>Arial</vt:lpstr>
      <vt:lpstr>Calibri</vt:lpstr>
      <vt:lpstr>Courier New</vt:lpstr>
      <vt:lpstr>Santander Text</vt:lpstr>
      <vt:lpstr>Santander Text Light</vt:lpstr>
      <vt:lpstr>Wingdings</vt:lpstr>
      <vt:lpstr>SAM_Cover Pages, Cover Pages, Impact Phrases</vt:lpstr>
      <vt:lpstr>SAM Template</vt:lpstr>
      <vt:lpstr>think-cell Slide</vt:lpstr>
      <vt:lpstr>Presentación de PowerPoint</vt:lpstr>
      <vt:lpstr>Presentación de PowerPoint</vt:lpstr>
      <vt:lpstr>1) Survey (I)</vt:lpstr>
      <vt:lpstr>1) Survey (II)</vt:lpstr>
      <vt:lpstr>1) Survey (I)</vt:lpstr>
      <vt:lpstr>1) Survey (II)</vt:lpstr>
      <vt:lpstr>2) Recent updates in AI (I)</vt:lpstr>
      <vt:lpstr>2) Recent updates in AI (I)</vt:lpstr>
      <vt:lpstr>2.1) Mistral Large 2: Measuring AI’s Environmental Footprint</vt:lpstr>
      <vt:lpstr>2.2) Gemini and the Carbon Cost of AI: A Greener Outlook from Google</vt:lpstr>
      <vt:lpstr>2.3) MIT: 95% of Generative AI Projects Fail to Deliver Value</vt:lpstr>
      <vt:lpstr>2.4) OpenAI &amp; Anthropic: Cross-Lab Safety Testing for Industry Standards</vt:lpstr>
      <vt:lpstr>2.5) DeepSeek Prepares AI Agent to Rival OpenAI by Year-End</vt:lpstr>
      <vt:lpstr>2.6) Latam-GPT: Latin America’s Open-Source Alternative to ChatGPT</vt:lpstr>
      <vt:lpstr>2.7) Google’s LangExtract: Open-Source Library for Structured Data Extraction</vt:lpstr>
      <vt:lpstr>2.8) Perplexity Comet Plus: Redefining the Revenue Model for Journalism</vt:lpstr>
      <vt:lpstr>3) Vanguard Insights: How AI Could Offset the Baby Boomer Retirement Wave</vt:lpstr>
      <vt:lpstr>3) Vanguard Insights: How AI Could Offset the Baby Boomer Retirement Wave</vt:lpstr>
      <vt:lpstr>3) Vanguard Insights: How AI Could Offset the Baby Boomer Retirement Wave</vt:lpstr>
      <vt:lpstr>3) Vanguard Insights: How AI Could Offset the Baby Boomer Retirement Wave</vt:lpstr>
      <vt:lpstr>4) OpenAI Research: Why language models hallucinate</vt:lpstr>
      <vt:lpstr>4) Takeaways (I)</vt:lpstr>
      <vt:lpstr>4) Takeaways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Karina Chocano Palomino</dc:creator>
  <cp:lastModifiedBy>Munarriz Herrador Iñaki</cp:lastModifiedBy>
  <cp:revision>908</cp:revision>
  <cp:lastPrinted>2023-05-24T06:58:43Z</cp:lastPrinted>
  <dcterms:created xsi:type="dcterms:W3CDTF">2019-01-11T18:46:24Z</dcterms:created>
  <dcterms:modified xsi:type="dcterms:W3CDTF">2025-09-08T16: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2abd79-57a9-4473-8700-c843f76a1e37_Enabled">
    <vt:lpwstr>true</vt:lpwstr>
  </property>
  <property fmtid="{D5CDD505-2E9C-101B-9397-08002B2CF9AE}" pid="3" name="MSIP_Label_0c2abd79-57a9-4473-8700-c843f76a1e37_SetDate">
    <vt:lpwstr>2023-01-18T17:54:17Z</vt:lpwstr>
  </property>
  <property fmtid="{D5CDD505-2E9C-101B-9397-08002B2CF9AE}" pid="4" name="MSIP_Label_0c2abd79-57a9-4473-8700-c843f76a1e37_Method">
    <vt:lpwstr>Privileged</vt:lpwstr>
  </property>
  <property fmtid="{D5CDD505-2E9C-101B-9397-08002B2CF9AE}" pid="5" name="MSIP_Label_0c2abd79-57a9-4473-8700-c843f76a1e37_Name">
    <vt:lpwstr>Internal</vt:lpwstr>
  </property>
  <property fmtid="{D5CDD505-2E9C-101B-9397-08002B2CF9AE}" pid="6" name="MSIP_Label_0c2abd79-57a9-4473-8700-c843f76a1e37_SiteId">
    <vt:lpwstr>35595a02-4d6d-44ac-99e1-f9ab4cd872db</vt:lpwstr>
  </property>
  <property fmtid="{D5CDD505-2E9C-101B-9397-08002B2CF9AE}" pid="7" name="MSIP_Label_0c2abd79-57a9-4473-8700-c843f76a1e37_ActionId">
    <vt:lpwstr>f7c9b8b4-d010-4586-8f12-2df85b2e7d54</vt:lpwstr>
  </property>
  <property fmtid="{D5CDD505-2E9C-101B-9397-08002B2CF9AE}" pid="8" name="MSIP_Label_0c2abd79-57a9-4473-8700-c843f76a1e37_ContentBits">
    <vt:lpwstr>0</vt:lpwstr>
  </property>
</Properties>
</file>